
<file path=[Content_Types].xml><?xml version="1.0" encoding="utf-8"?>
<Types xmlns="http://schemas.openxmlformats.org/package/2006/content-types">
  <Default Extension="png" ContentType="image/png"/>
  <Default Extension="mp3" ContentType="audio/mpe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73" r:id="rId2"/>
  </p:sldMasterIdLst>
  <p:notesMasterIdLst>
    <p:notesMasterId r:id="rId23"/>
  </p:notesMasterIdLst>
  <p:sldIdLst>
    <p:sldId id="303" r:id="rId3"/>
    <p:sldId id="304" r:id="rId4"/>
    <p:sldId id="305" r:id="rId5"/>
    <p:sldId id="301" r:id="rId6"/>
    <p:sldId id="256" r:id="rId7"/>
    <p:sldId id="298" r:id="rId8"/>
    <p:sldId id="296" r:id="rId9"/>
    <p:sldId id="299" r:id="rId10"/>
    <p:sldId id="295" r:id="rId11"/>
    <p:sldId id="300" r:id="rId12"/>
    <p:sldId id="293" r:id="rId13"/>
    <p:sldId id="269" r:id="rId14"/>
    <p:sldId id="284" r:id="rId15"/>
    <p:sldId id="287" r:id="rId16"/>
    <p:sldId id="291" r:id="rId17"/>
    <p:sldId id="297" r:id="rId18"/>
    <p:sldId id="308" r:id="rId19"/>
    <p:sldId id="306" r:id="rId20"/>
    <p:sldId id="307" r:id="rId21"/>
    <p:sldId id="309" r:id="rId22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EAB200"/>
    <a:srgbClr val="CC0066"/>
    <a:srgbClr val="FF2549"/>
    <a:srgbClr val="5EEC3C"/>
    <a:srgbClr val="9EFF29"/>
    <a:srgbClr val="A4660C"/>
    <a:srgbClr val="952F69"/>
    <a:srgbClr val="FF856D"/>
    <a:srgbClr val="0036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58" autoAdjust="0"/>
    <p:restoredTop sz="89474" autoAdjust="0"/>
  </p:normalViewPr>
  <p:slideViewPr>
    <p:cSldViewPr snapToGrid="0">
      <p:cViewPr varScale="1">
        <p:scale>
          <a:sx n="79" d="100"/>
          <a:sy n="79" d="100"/>
        </p:scale>
        <p:origin x="312" y="3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152705" cy="1527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D18E60-4300-4729-A0D7-6AB984C3922D}" type="datetimeFigureOut">
              <a:rPr lang="en-US" smtClean="0"/>
              <a:t>18/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533E96-F078-4B3D-A8F4-F1AF21EBC3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300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MY" altLang="en-US" dirty="0" smtClean="0"/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807A1CA6-D6B2-4D16-A30B-221591500C45}" type="slidenum">
              <a:rPr lang="en-MY" altLang="en-US" smtClean="0"/>
              <a:pPr/>
              <a:t>7</a:t>
            </a:fld>
            <a:endParaRPr lang="en-MY" altLang="en-US" smtClean="0"/>
          </a:p>
        </p:txBody>
      </p:sp>
    </p:spTree>
    <p:extLst>
      <p:ext uri="{BB962C8B-B14F-4D97-AF65-F5344CB8AC3E}">
        <p14:creationId xmlns:p14="http://schemas.microsoft.com/office/powerpoint/2010/main" val="9571167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350B06-B074-48FC-8CFD-53D2CD8FB95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378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MY" altLang="en-US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A62F8B9E-9BF4-4BE3-8D52-A9C50AE292D1}" type="slidenum">
              <a:rPr lang="en-MY" altLang="en-US" smtClean="0"/>
              <a:pPr/>
              <a:t>8</a:t>
            </a:fld>
            <a:endParaRPr lang="en-MY" altLang="en-US"/>
          </a:p>
        </p:txBody>
      </p:sp>
    </p:spTree>
    <p:extLst>
      <p:ext uri="{BB962C8B-B14F-4D97-AF65-F5344CB8AC3E}">
        <p14:creationId xmlns:p14="http://schemas.microsoft.com/office/powerpoint/2010/main" val="7034440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MY" altLang="en-US" dirty="0" smtClean="0"/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807A1CA6-D6B2-4D16-A30B-221591500C45}" type="slidenum">
              <a:rPr lang="en-MY" altLang="en-US" smtClean="0"/>
              <a:pPr/>
              <a:t>9</a:t>
            </a:fld>
            <a:endParaRPr lang="en-MY" altLang="en-US" smtClean="0"/>
          </a:p>
        </p:txBody>
      </p:sp>
    </p:spTree>
    <p:extLst>
      <p:ext uri="{BB962C8B-B14F-4D97-AF65-F5344CB8AC3E}">
        <p14:creationId xmlns:p14="http://schemas.microsoft.com/office/powerpoint/2010/main" val="4242689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MY" altLang="en-US" smtClean="0"/>
          </a:p>
        </p:txBody>
      </p:sp>
      <p:sp>
        <p:nvSpPr>
          <p:cNvPr id="92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C22E3696-C708-4EB4-960D-77E7D78FEF49}" type="slidenum">
              <a:rPr lang="en-MY" altLang="en-US" smtClean="0"/>
              <a:pPr/>
              <a:t>10</a:t>
            </a:fld>
            <a:endParaRPr lang="en-MY" altLang="en-US" smtClean="0"/>
          </a:p>
        </p:txBody>
      </p:sp>
    </p:spTree>
    <p:extLst>
      <p:ext uri="{BB962C8B-B14F-4D97-AF65-F5344CB8AC3E}">
        <p14:creationId xmlns:p14="http://schemas.microsoft.com/office/powerpoint/2010/main" val="16293907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MY" sz="1200" b="1" dirty="0" smtClean="0">
                <a:solidFill>
                  <a:prstClr val="black"/>
                </a:solidFill>
              </a:rPr>
              <a:t>There were more than 1,500 RICEFW * where 557 programs were developed for 23 sub-modules consisting of 355 processes and 978 reports</a:t>
            </a:r>
          </a:p>
          <a:p>
            <a:endParaRPr lang="en-MY" altLang="en-US" dirty="0" smtClean="0"/>
          </a:p>
        </p:txBody>
      </p:sp>
      <p:sp>
        <p:nvSpPr>
          <p:cNvPr id="112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0F3981AB-1A9C-4368-B7C2-DAD340ACF317}" type="slidenum">
              <a:rPr lang="en-MY" altLang="en-US" smtClean="0"/>
              <a:pPr/>
              <a:t>11</a:t>
            </a:fld>
            <a:endParaRPr lang="en-MY" altLang="en-US" smtClean="0"/>
          </a:p>
        </p:txBody>
      </p:sp>
    </p:spTree>
    <p:extLst>
      <p:ext uri="{BB962C8B-B14F-4D97-AF65-F5344CB8AC3E}">
        <p14:creationId xmlns:p14="http://schemas.microsoft.com/office/powerpoint/2010/main" val="3825794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2015 evaluation by MAMPU –scope</a:t>
            </a:r>
            <a:r>
              <a:rPr lang="en-US" baseline="0" dirty="0" smtClean="0"/>
              <a:t>  to reasons for delayed ( 2 projects </a:t>
            </a:r>
            <a:r>
              <a:rPr lang="en-US" baseline="0" dirty="0" err="1" smtClean="0"/>
              <a:t>igfmas</a:t>
            </a:r>
            <a:r>
              <a:rPr lang="en-US" baseline="0" dirty="0" smtClean="0"/>
              <a:t> &amp; u customs)</a:t>
            </a:r>
            <a:endParaRPr lang="en-US" dirty="0" smtClean="0"/>
          </a:p>
          <a:p>
            <a:r>
              <a:rPr lang="en-US" dirty="0" smtClean="0"/>
              <a:t> The Findings:</a:t>
            </a:r>
          </a:p>
          <a:p>
            <a:endParaRPr lang="en-US" dirty="0" smtClean="0"/>
          </a:p>
          <a:p>
            <a:r>
              <a:rPr lang="en-US" dirty="0" smtClean="0"/>
              <a:t>1.</a:t>
            </a:r>
            <a:r>
              <a:rPr lang="en-US" baseline="0" dirty="0" smtClean="0"/>
              <a:t> </a:t>
            </a:r>
            <a:r>
              <a:rPr lang="en-US" dirty="0" smtClean="0"/>
              <a:t>Complexities</a:t>
            </a:r>
            <a:r>
              <a:rPr lang="en-US" baseline="0" dirty="0" smtClean="0"/>
              <a:t> of the projects – a big transformation</a:t>
            </a:r>
          </a:p>
          <a:p>
            <a:r>
              <a:rPr lang="en-US" baseline="0" dirty="0" smtClean="0"/>
              <a:t>Original plan development  18 months (development of the system concurrent with the policy /</a:t>
            </a:r>
            <a:r>
              <a:rPr lang="en-US" baseline="0" dirty="0" err="1" smtClean="0"/>
              <a:t>dasar</a:t>
            </a:r>
            <a:r>
              <a:rPr lang="en-US" baseline="0" dirty="0" smtClean="0"/>
              <a:t>))</a:t>
            </a:r>
          </a:p>
          <a:p>
            <a:r>
              <a:rPr lang="en-US" baseline="0" dirty="0" smtClean="0"/>
              <a:t>NZ took  5 years, Australia  6 years </a:t>
            </a:r>
          </a:p>
          <a:p>
            <a:r>
              <a:rPr lang="en-US" baseline="0" dirty="0" smtClean="0"/>
              <a:t>UK 10 years</a:t>
            </a:r>
          </a:p>
          <a:p>
            <a:endParaRPr lang="en-US" dirty="0" smtClean="0"/>
          </a:p>
          <a:p>
            <a:r>
              <a:rPr lang="en-US" dirty="0" smtClean="0"/>
              <a:t>2. Scope under estimate by vendor  - think accounting in Government</a:t>
            </a:r>
            <a:r>
              <a:rPr lang="en-US" baseline="0" dirty="0" smtClean="0"/>
              <a:t> differ </a:t>
            </a:r>
            <a:r>
              <a:rPr lang="en-US" baseline="0" dirty="0" err="1" smtClean="0"/>
              <a:t>fr</a:t>
            </a:r>
            <a:r>
              <a:rPr lang="en-US" baseline="0" dirty="0" smtClean="0"/>
              <a:t>  private sector </a:t>
            </a:r>
          </a:p>
          <a:p>
            <a:r>
              <a:rPr lang="en-US" baseline="0" dirty="0" smtClean="0"/>
              <a:t> initial  project team 100 , SME or SAP related consultant difficult to get due to </a:t>
            </a:r>
            <a:r>
              <a:rPr lang="en-US" baseline="0" dirty="0" err="1" smtClean="0"/>
              <a:t>myGST</a:t>
            </a:r>
            <a:r>
              <a:rPr lang="en-US" baseline="0" dirty="0" smtClean="0"/>
              <a:t> implementation at the same time </a:t>
            </a:r>
          </a:p>
          <a:p>
            <a:r>
              <a:rPr lang="en-US" baseline="0" dirty="0" smtClean="0"/>
              <a:t>SME in October but the contract starts in April 2013</a:t>
            </a:r>
          </a:p>
          <a:p>
            <a:r>
              <a:rPr lang="en-US" baseline="0" dirty="0" smtClean="0"/>
              <a:t>Solution Architect in Dec 2014</a:t>
            </a:r>
          </a:p>
          <a:p>
            <a:endParaRPr lang="en-US" baseline="0" dirty="0" smtClean="0"/>
          </a:p>
          <a:p>
            <a:r>
              <a:rPr lang="en-US" baseline="0" dirty="0" smtClean="0"/>
              <a:t>3. Differ the </a:t>
            </a:r>
            <a:r>
              <a:rPr lang="en-US" baseline="0" dirty="0" err="1" smtClean="0"/>
              <a:t>Akt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rakaun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kruan</a:t>
            </a:r>
            <a:r>
              <a:rPr lang="en-US" baseline="0" dirty="0" smtClean="0"/>
              <a:t> – the impact</a:t>
            </a:r>
          </a:p>
          <a:p>
            <a:r>
              <a:rPr lang="en-US" baseline="0" dirty="0" smtClean="0"/>
              <a:t>Due to the short time line, JANM &amp; Vendor agreed to </a:t>
            </a:r>
            <a:r>
              <a:rPr lang="en-US" baseline="0" dirty="0" err="1" smtClean="0"/>
              <a:t>emphasise</a:t>
            </a:r>
            <a:r>
              <a:rPr lang="en-US" baseline="0" dirty="0" smtClean="0"/>
              <a:t> the development to accrual but when differ to 1.1.2016 Dual Ledger need to be build </a:t>
            </a:r>
            <a:endParaRPr lang="en-US" dirty="0" smtClean="0"/>
          </a:p>
          <a:p>
            <a:r>
              <a:rPr lang="en-US" dirty="0" smtClean="0"/>
              <a:t>2016 – discussion to consider</a:t>
            </a:r>
            <a:r>
              <a:rPr lang="en-US" baseline="0" dirty="0" smtClean="0"/>
              <a:t> the application EOT by </a:t>
            </a:r>
            <a:r>
              <a:rPr lang="en-US" baseline="0" dirty="0" err="1" smtClean="0"/>
              <a:t>iA</a:t>
            </a:r>
            <a:r>
              <a:rPr lang="en-US" baseline="0" dirty="0" smtClean="0"/>
              <a:t> or to terminate the SI </a:t>
            </a:r>
          </a:p>
          <a:p>
            <a:endParaRPr lang="en-US" baseline="0" dirty="0" smtClean="0"/>
          </a:p>
          <a:p>
            <a:r>
              <a:rPr lang="en-US" baseline="0" dirty="0" smtClean="0"/>
              <a:t>3 times deferred  the go live date</a:t>
            </a:r>
          </a:p>
          <a:p>
            <a:r>
              <a:rPr lang="en-US" baseline="0" dirty="0" smtClean="0"/>
              <a:t> </a:t>
            </a:r>
            <a:r>
              <a:rPr lang="en-US" baseline="0" dirty="0" err="1" smtClean="0"/>
              <a:t>Ist</a:t>
            </a:r>
            <a:r>
              <a:rPr lang="en-US" baseline="0" dirty="0" smtClean="0"/>
              <a:t> --- 30 Nov  2014 (</a:t>
            </a:r>
            <a:r>
              <a:rPr lang="en-US" baseline="0" dirty="0" err="1" smtClean="0"/>
              <a:t>fr</a:t>
            </a:r>
            <a:r>
              <a:rPr lang="en-US" baseline="0" dirty="0" smtClean="0"/>
              <a:t> 1.1.15 to 1.1.16) impact Cash Based FS has to be tabled to the Parliament – dual ledger </a:t>
            </a:r>
          </a:p>
          <a:p>
            <a:r>
              <a:rPr lang="en-US" baseline="0" dirty="0" err="1" smtClean="0"/>
              <a:t>Tangguh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mbentang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dang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erkaitan</a:t>
            </a:r>
            <a:r>
              <a:rPr lang="en-US" baseline="0" dirty="0" smtClean="0"/>
              <a:t> di Parliament – impact go live to 2016</a:t>
            </a:r>
          </a:p>
          <a:p>
            <a:r>
              <a:rPr lang="en-US" baseline="0" dirty="0" smtClean="0"/>
              <a:t>Maintenance of </a:t>
            </a:r>
            <a:r>
              <a:rPr lang="en-US" baseline="0" dirty="0" err="1" smtClean="0"/>
              <a:t>espkb</a:t>
            </a:r>
            <a:r>
              <a:rPr lang="en-US" baseline="0" dirty="0" smtClean="0"/>
              <a:t> &amp; </a:t>
            </a:r>
            <a:r>
              <a:rPr lang="en-US" baseline="0" dirty="0" err="1" smtClean="0"/>
              <a:t>gfmas</a:t>
            </a:r>
            <a:r>
              <a:rPr lang="en-US" baseline="0" dirty="0" smtClean="0"/>
              <a:t> to continue – </a:t>
            </a:r>
            <a:r>
              <a:rPr lang="en-US" baseline="0" dirty="0" err="1" smtClean="0"/>
              <a:t>Teliti</a:t>
            </a:r>
            <a:r>
              <a:rPr lang="en-US" baseline="0" dirty="0" smtClean="0"/>
              <a:t>  under </a:t>
            </a:r>
            <a:r>
              <a:rPr lang="en-US" baseline="0" dirty="0" err="1" smtClean="0"/>
              <a:t>receivableship</a:t>
            </a:r>
            <a:r>
              <a:rPr lang="en-US" baseline="0" dirty="0" smtClean="0"/>
              <a:t>. Can’t continue. </a:t>
            </a:r>
            <a:r>
              <a:rPr lang="en-US" baseline="0" dirty="0" err="1" smtClean="0"/>
              <a:t>Lantik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A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2</a:t>
            </a:r>
            <a:r>
              <a:rPr lang="en-US" baseline="30000" dirty="0" smtClean="0"/>
              <a:t>nd</a:t>
            </a:r>
            <a:r>
              <a:rPr lang="en-US" baseline="0" dirty="0" smtClean="0"/>
              <a:t> --- KSP letter 2015 ( </a:t>
            </a:r>
            <a:r>
              <a:rPr lang="en-US" baseline="0" dirty="0" err="1" smtClean="0"/>
              <a:t>fr</a:t>
            </a:r>
            <a:r>
              <a:rPr lang="en-US" baseline="0" dirty="0" smtClean="0"/>
              <a:t> 1.1.2016 – 1.1.2017) </a:t>
            </a:r>
            <a:r>
              <a:rPr lang="en-US" baseline="0" dirty="0" err="1" smtClean="0"/>
              <a:t>fo</a:t>
            </a:r>
            <a:r>
              <a:rPr lang="en-US" baseline="0" dirty="0" smtClean="0"/>
              <a:t> ensure the readiness &amp; completeness as well as the stability (</a:t>
            </a:r>
            <a:r>
              <a:rPr lang="en-US" baseline="0" dirty="0" err="1" smtClean="0"/>
              <a:t>mantap</a:t>
            </a:r>
            <a:r>
              <a:rPr lang="en-US" baseline="0" dirty="0" smtClean="0"/>
              <a:t>) of the system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533E96-F078-4B3D-A8F4-F1AF21EBC3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1808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350B06-B074-48FC-8CFD-53D2CD8FB95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1175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volvement of</a:t>
            </a:r>
            <a:r>
              <a:rPr lang="en-US" baseline="0" dirty="0" smtClean="0"/>
              <a:t> </a:t>
            </a:r>
            <a:r>
              <a:rPr lang="en-US" dirty="0" smtClean="0"/>
              <a:t>SME too</a:t>
            </a:r>
            <a:r>
              <a:rPr lang="en-US" baseline="0" dirty="0" smtClean="0"/>
              <a:t> late</a:t>
            </a:r>
            <a:r>
              <a:rPr lang="en-US" dirty="0" smtClean="0"/>
              <a:t> – MPSAS</a:t>
            </a:r>
            <a:r>
              <a:rPr lang="en-US" baseline="0" dirty="0" smtClean="0"/>
              <a:t> &amp; Government Accounting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350B06-B074-48FC-8CFD-53D2CD8FB95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22284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350B06-B074-48FC-8CFD-53D2CD8FB95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871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5960" y="2949677"/>
            <a:ext cx="8048717" cy="1637071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r>
              <a:rPr lang="en-US" dirty="0" smtClean="0"/>
              <a:t>Master </a:t>
            </a: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83" y="1998415"/>
            <a:ext cx="7975483" cy="685791"/>
          </a:xfrm>
        </p:spPr>
        <p:txBody>
          <a:bodyPr>
            <a:normAutofit/>
          </a:bodyPr>
          <a:lstStyle>
            <a:lvl1pPr marL="0" indent="0" algn="r">
              <a:buNone/>
              <a:defRPr sz="2800" b="0" i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r>
              <a:rPr lang="en-US" dirty="0" smtClean="0"/>
              <a:t>Master </a:t>
            </a:r>
            <a:r>
              <a:rPr lang="en-US" dirty="0"/>
              <a:t>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875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6078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6657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E:\websites\free-power-point-templates\2012\logos.png">
            <a:extLst>
              <a:ext uri="{FF2B5EF4-FFF2-40B4-BE49-F238E27FC236}">
                <a16:creationId xmlns="" xmlns:a16="http://schemas.microsoft.com/office/drawing/2014/main" id="{08B89D22-1D6E-450B-881F-4D2A4C527F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08475" y="2326213"/>
            <a:ext cx="1463784" cy="526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3609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Connector 29"/>
          <p:cNvCxnSpPr/>
          <p:nvPr/>
        </p:nvCxnSpPr>
        <p:spPr>
          <a:xfrm flipV="1">
            <a:off x="444013" y="2553893"/>
            <a:ext cx="8255977" cy="10715"/>
          </a:xfrm>
          <a:prstGeom prst="line">
            <a:avLst/>
          </a:prstGeom>
          <a:ln>
            <a:solidFill>
              <a:srgbClr val="6A22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itle Placeholder 1"/>
          <p:cNvSpPr>
            <a:spLocks noGrp="1"/>
          </p:cNvSpPr>
          <p:nvPr>
            <p:ph type="title"/>
          </p:nvPr>
        </p:nvSpPr>
        <p:spPr>
          <a:xfrm>
            <a:off x="481879" y="1692914"/>
            <a:ext cx="8229600" cy="857250"/>
          </a:xfrm>
          <a:prstGeom prst="rect">
            <a:avLst/>
          </a:prstGeom>
        </p:spPr>
        <p:txBody>
          <a:bodyPr rtlCol="0">
            <a:normAutofit/>
          </a:bodyPr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81879" y="2622095"/>
            <a:ext cx="8229600" cy="685800"/>
          </a:xfrm>
        </p:spPr>
        <p:txBody>
          <a:bodyPr/>
          <a:lstStyle>
            <a:lvl1pPr marL="0" indent="0" algn="ctr">
              <a:buNone/>
              <a:defRPr>
                <a:solidFill>
                  <a:srgbClr val="94272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2" name="Picture 12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959" y="4490792"/>
            <a:ext cx="756408" cy="594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3" name="Rounded Rectangle 122"/>
          <p:cNvSpPr/>
          <p:nvPr userDrawn="1"/>
        </p:nvSpPr>
        <p:spPr>
          <a:xfrm>
            <a:off x="8357743" y="5093286"/>
            <a:ext cx="499396" cy="423506"/>
          </a:xfrm>
          <a:prstGeom prst="roundRect">
            <a:avLst/>
          </a:prstGeom>
          <a:solidFill>
            <a:srgbClr val="840C26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24" name="Rounded Rectangle 123"/>
          <p:cNvSpPr/>
          <p:nvPr userDrawn="1"/>
        </p:nvSpPr>
        <p:spPr>
          <a:xfrm>
            <a:off x="1191783" y="5227345"/>
            <a:ext cx="327297" cy="277559"/>
          </a:xfrm>
          <a:prstGeom prst="roundRect">
            <a:avLst/>
          </a:prstGeom>
          <a:solidFill>
            <a:srgbClr val="6A091F">
              <a:alpha val="61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25" name="Rounded Rectangle 124"/>
          <p:cNvSpPr/>
          <p:nvPr userDrawn="1"/>
        </p:nvSpPr>
        <p:spPr>
          <a:xfrm>
            <a:off x="5080325" y="4627552"/>
            <a:ext cx="699156" cy="592907"/>
          </a:xfrm>
          <a:prstGeom prst="roundRect">
            <a:avLst/>
          </a:prstGeom>
          <a:solidFill>
            <a:srgbClr val="6A091F">
              <a:alpha val="61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26" name="Rounded Rectangle 125"/>
          <p:cNvSpPr/>
          <p:nvPr userDrawn="1"/>
        </p:nvSpPr>
        <p:spPr>
          <a:xfrm>
            <a:off x="4378697" y="4715078"/>
            <a:ext cx="878938" cy="745370"/>
          </a:xfrm>
          <a:prstGeom prst="roundRect">
            <a:avLst/>
          </a:prstGeom>
          <a:solidFill>
            <a:srgbClr val="840C26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27" name="Rounded Rectangle 126"/>
          <p:cNvSpPr/>
          <p:nvPr userDrawn="1"/>
        </p:nvSpPr>
        <p:spPr>
          <a:xfrm>
            <a:off x="5602172" y="4918976"/>
            <a:ext cx="662071" cy="561459"/>
          </a:xfrm>
          <a:prstGeom prst="roundRect">
            <a:avLst/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kern="0">
              <a:solidFill>
                <a:sysClr val="window" lastClr="FFFFFF"/>
              </a:solidFill>
              <a:ea typeface="ＭＳ Ｐゴシック" charset="0"/>
              <a:cs typeface="Century Gothic"/>
            </a:endParaRPr>
          </a:p>
        </p:txBody>
      </p:sp>
      <p:sp>
        <p:nvSpPr>
          <p:cNvPr id="128" name="Rounded Rectangle 127"/>
          <p:cNvSpPr/>
          <p:nvPr userDrawn="1"/>
        </p:nvSpPr>
        <p:spPr>
          <a:xfrm>
            <a:off x="3893901" y="4833662"/>
            <a:ext cx="597738" cy="508207"/>
          </a:xfrm>
          <a:prstGeom prst="roundRect">
            <a:avLst/>
          </a:prstGeom>
          <a:solidFill>
            <a:srgbClr val="BFBFBF">
              <a:alpha val="50196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kern="0">
              <a:solidFill>
                <a:sysClr val="window" lastClr="FFFFFF"/>
              </a:solidFill>
              <a:ea typeface="ＭＳ Ｐゴシック" charset="0"/>
              <a:cs typeface="Century Gothic"/>
            </a:endParaRPr>
          </a:p>
        </p:txBody>
      </p:sp>
      <p:sp>
        <p:nvSpPr>
          <p:cNvPr id="129" name="Rounded Rectangle 128"/>
          <p:cNvSpPr/>
          <p:nvPr userDrawn="1"/>
        </p:nvSpPr>
        <p:spPr>
          <a:xfrm>
            <a:off x="3571646" y="5001709"/>
            <a:ext cx="563934" cy="478235"/>
          </a:xfrm>
          <a:prstGeom prst="roundRect">
            <a:avLst/>
          </a:prstGeom>
          <a:noFill/>
          <a:ln w="2857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30" name="Rounded Rectangle 129"/>
          <p:cNvSpPr/>
          <p:nvPr userDrawn="1"/>
        </p:nvSpPr>
        <p:spPr>
          <a:xfrm>
            <a:off x="1540499" y="4651072"/>
            <a:ext cx="637690" cy="540785"/>
          </a:xfrm>
          <a:prstGeom prst="roundRect">
            <a:avLst/>
          </a:prstGeom>
          <a:solidFill>
            <a:srgbClr val="BFBFBF">
              <a:alpha val="50196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kern="0">
              <a:solidFill>
                <a:sysClr val="window" lastClr="FFFFFF"/>
              </a:solidFill>
              <a:ea typeface="ＭＳ Ｐゴシック" charset="0"/>
              <a:cs typeface="Century Gothic"/>
            </a:endParaRPr>
          </a:p>
        </p:txBody>
      </p:sp>
      <p:sp>
        <p:nvSpPr>
          <p:cNvPr id="131" name="Rounded Rectangle 130"/>
          <p:cNvSpPr/>
          <p:nvPr userDrawn="1"/>
        </p:nvSpPr>
        <p:spPr>
          <a:xfrm>
            <a:off x="8149439" y="4494580"/>
            <a:ext cx="627225" cy="531908"/>
          </a:xfrm>
          <a:prstGeom prst="roundRect">
            <a:avLst>
              <a:gd name="adj" fmla="val 10264"/>
            </a:avLst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kern="0">
              <a:solidFill>
                <a:sysClr val="window" lastClr="FFFFFF"/>
              </a:solidFill>
              <a:ea typeface="ＭＳ Ｐゴシック" charset="0"/>
              <a:cs typeface="Century Gothic"/>
            </a:endParaRPr>
          </a:p>
        </p:txBody>
      </p:sp>
      <p:sp>
        <p:nvSpPr>
          <p:cNvPr id="132" name="Rounded Rectangle 131"/>
          <p:cNvSpPr/>
          <p:nvPr userDrawn="1"/>
        </p:nvSpPr>
        <p:spPr>
          <a:xfrm>
            <a:off x="7142915" y="4869994"/>
            <a:ext cx="645374" cy="547300"/>
          </a:xfrm>
          <a:prstGeom prst="roundRect">
            <a:avLst/>
          </a:prstGeom>
          <a:solidFill>
            <a:sysClr val="window" lastClr="FFFFFF">
              <a:lumMod val="50000"/>
              <a:alpha val="50196"/>
            </a:sys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kern="0">
              <a:solidFill>
                <a:sysClr val="window" lastClr="FFFFFF"/>
              </a:solidFill>
              <a:ea typeface="ＭＳ Ｐゴシック" charset="0"/>
              <a:cs typeface="Century Gothic"/>
            </a:endParaRPr>
          </a:p>
        </p:txBody>
      </p:sp>
      <p:sp>
        <p:nvSpPr>
          <p:cNvPr id="133" name="Rounded Rectangle 132"/>
          <p:cNvSpPr/>
          <p:nvPr userDrawn="1"/>
        </p:nvSpPr>
        <p:spPr>
          <a:xfrm>
            <a:off x="7610978" y="4678439"/>
            <a:ext cx="605422" cy="513419"/>
          </a:xfrm>
          <a:prstGeom prst="roundRect">
            <a:avLst/>
          </a:prstGeom>
          <a:solidFill>
            <a:srgbClr val="840C26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34" name="Rounded Rectangle 133"/>
          <p:cNvSpPr/>
          <p:nvPr userDrawn="1"/>
        </p:nvSpPr>
        <p:spPr>
          <a:xfrm>
            <a:off x="6717877" y="4760532"/>
            <a:ext cx="602349" cy="510813"/>
          </a:xfrm>
          <a:prstGeom prst="roundRect">
            <a:avLst/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kern="0">
              <a:solidFill>
                <a:sysClr val="window" lastClr="FFFFFF"/>
              </a:solidFill>
              <a:ea typeface="ＭＳ Ｐゴシック" charset="0"/>
              <a:cs typeface="Century Gothic"/>
            </a:endParaRPr>
          </a:p>
        </p:txBody>
      </p:sp>
      <p:sp>
        <p:nvSpPr>
          <p:cNvPr id="135" name="Rounded Rectangle 134"/>
          <p:cNvSpPr/>
          <p:nvPr userDrawn="1"/>
        </p:nvSpPr>
        <p:spPr>
          <a:xfrm>
            <a:off x="6086932" y="4731866"/>
            <a:ext cx="696917" cy="591010"/>
          </a:xfrm>
          <a:prstGeom prst="roundRect">
            <a:avLst/>
          </a:prstGeom>
          <a:solidFill>
            <a:srgbClr val="6A091F">
              <a:alpha val="61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36" name="Rounded Rectangle 135"/>
          <p:cNvSpPr/>
          <p:nvPr userDrawn="1"/>
        </p:nvSpPr>
        <p:spPr>
          <a:xfrm>
            <a:off x="5038970" y="4800222"/>
            <a:ext cx="679180" cy="575968"/>
          </a:xfrm>
          <a:prstGeom prst="roundRect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37" name="Rounded Rectangle 136"/>
          <p:cNvSpPr/>
          <p:nvPr userDrawn="1"/>
        </p:nvSpPr>
        <p:spPr>
          <a:xfrm>
            <a:off x="3274520" y="4716227"/>
            <a:ext cx="525519" cy="446961"/>
          </a:xfrm>
          <a:prstGeom prst="roundRect">
            <a:avLst/>
          </a:prstGeom>
          <a:solidFill>
            <a:srgbClr val="BFBFBF">
              <a:alpha val="50196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kern="0">
              <a:solidFill>
                <a:sysClr val="window" lastClr="FFFFFF"/>
              </a:solidFill>
              <a:ea typeface="ＭＳ Ｐゴシック" charset="0"/>
              <a:cs typeface="Century Gothic"/>
            </a:endParaRPr>
          </a:p>
        </p:txBody>
      </p:sp>
      <p:sp>
        <p:nvSpPr>
          <p:cNvPr id="138" name="Rounded Rectangle 137"/>
          <p:cNvSpPr/>
          <p:nvPr userDrawn="1"/>
        </p:nvSpPr>
        <p:spPr>
          <a:xfrm>
            <a:off x="2578425" y="4551362"/>
            <a:ext cx="717595" cy="608545"/>
          </a:xfrm>
          <a:prstGeom prst="roundRect">
            <a:avLst/>
          </a:prstGeom>
          <a:solidFill>
            <a:srgbClr val="840C26">
              <a:alpha val="85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39" name="Rounded Rectangle 138"/>
          <p:cNvSpPr/>
          <p:nvPr userDrawn="1"/>
        </p:nvSpPr>
        <p:spPr>
          <a:xfrm>
            <a:off x="2064692" y="4969972"/>
            <a:ext cx="627225" cy="531908"/>
          </a:xfrm>
          <a:prstGeom prst="roundRect">
            <a:avLst/>
          </a:prstGeom>
          <a:solidFill>
            <a:srgbClr val="6A091F">
              <a:alpha val="61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40" name="Rounded Rectangle 139"/>
          <p:cNvSpPr/>
          <p:nvPr userDrawn="1"/>
        </p:nvSpPr>
        <p:spPr>
          <a:xfrm>
            <a:off x="2887914" y="4853054"/>
            <a:ext cx="634617" cy="538178"/>
          </a:xfrm>
          <a:prstGeom prst="roundRect">
            <a:avLst>
              <a:gd name="adj" fmla="val 12665"/>
            </a:avLst>
          </a:prstGeom>
          <a:solidFill>
            <a:srgbClr val="BFBFB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kern="0" dirty="0">
              <a:solidFill>
                <a:sysClr val="window" lastClr="FFFFFF"/>
              </a:solidFill>
              <a:ea typeface="ＭＳ Ｐゴシック" charset="0"/>
              <a:cs typeface="Century Gothic"/>
            </a:endParaRPr>
          </a:p>
        </p:txBody>
      </p:sp>
      <p:sp>
        <p:nvSpPr>
          <p:cNvPr id="141" name="Rounded Rectangle 140"/>
          <p:cNvSpPr/>
          <p:nvPr userDrawn="1"/>
        </p:nvSpPr>
        <p:spPr>
          <a:xfrm>
            <a:off x="8117930" y="4916630"/>
            <a:ext cx="511690" cy="433930"/>
          </a:xfrm>
          <a:prstGeom prst="roundRect">
            <a:avLst/>
          </a:prstGeom>
          <a:noFill/>
          <a:ln w="2857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42" name="Rounded Rectangle 141"/>
          <p:cNvSpPr/>
          <p:nvPr userDrawn="1"/>
        </p:nvSpPr>
        <p:spPr>
          <a:xfrm>
            <a:off x="6491058" y="4505077"/>
            <a:ext cx="639228" cy="542087"/>
          </a:xfrm>
          <a:prstGeom prst="roundRect">
            <a:avLst/>
          </a:prstGeom>
          <a:solidFill>
            <a:srgbClr val="840C26"/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43" name="Text Box 16"/>
          <p:cNvSpPr txBox="1">
            <a:spLocks noChangeArrowheads="1"/>
          </p:cNvSpPr>
          <p:nvPr userDrawn="1"/>
        </p:nvSpPr>
        <p:spPr bwMode="auto">
          <a:xfrm>
            <a:off x="2968523" y="4541715"/>
            <a:ext cx="2635277" cy="168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en-MY" sz="450" kern="0" dirty="0">
                <a:solidFill>
                  <a:sysClr val="window" lastClr="FFFFFF">
                    <a:lumMod val="50000"/>
                  </a:sysClr>
                </a:solidFill>
                <a:latin typeface="Century Gothic" panose="020B0502020202020204" pitchFamily="34" charset="0"/>
                <a:ea typeface="ＭＳ Ｐゴシック" charset="0"/>
              </a:rPr>
              <a:t>©2016 The iA Group - </a:t>
            </a:r>
            <a:r>
              <a:rPr lang="en-GB" sz="450" kern="0" dirty="0">
                <a:solidFill>
                  <a:sysClr val="window" lastClr="FFFFFF">
                    <a:lumMod val="50000"/>
                  </a:sysClr>
                </a:solidFill>
                <a:latin typeface="Century Gothic" panose="020B0502020202020204" pitchFamily="34" charset="0"/>
                <a:ea typeface="ＭＳ Ｐゴシック" charset="0"/>
              </a:rPr>
              <a:t>All Rights Reserved</a:t>
            </a:r>
          </a:p>
        </p:txBody>
      </p:sp>
      <p:sp>
        <p:nvSpPr>
          <p:cNvPr id="144" name="Rounded Rectangle 143"/>
          <p:cNvSpPr/>
          <p:nvPr userDrawn="1"/>
        </p:nvSpPr>
        <p:spPr>
          <a:xfrm>
            <a:off x="1243916" y="4731240"/>
            <a:ext cx="393371" cy="332290"/>
          </a:xfrm>
          <a:prstGeom prst="roundRect">
            <a:avLst/>
          </a:prstGeom>
          <a:noFill/>
          <a:ln w="2857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45" name="Rounded Rectangle 144"/>
          <p:cNvSpPr/>
          <p:nvPr userDrawn="1"/>
        </p:nvSpPr>
        <p:spPr>
          <a:xfrm>
            <a:off x="7373744" y="4490794"/>
            <a:ext cx="591594" cy="502994"/>
          </a:xfrm>
          <a:prstGeom prst="roundRect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46" name="Rounded Rectangle 145"/>
          <p:cNvSpPr/>
          <p:nvPr userDrawn="1"/>
        </p:nvSpPr>
        <p:spPr>
          <a:xfrm>
            <a:off x="3142018" y="4688864"/>
            <a:ext cx="591594" cy="502994"/>
          </a:xfrm>
          <a:prstGeom prst="roundRect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47" name="Rounded Rectangle 146"/>
          <p:cNvSpPr/>
          <p:nvPr userDrawn="1"/>
        </p:nvSpPr>
        <p:spPr>
          <a:xfrm>
            <a:off x="1947908" y="4992863"/>
            <a:ext cx="450226" cy="381807"/>
          </a:xfrm>
          <a:prstGeom prst="roundRect">
            <a:avLst/>
          </a:prstGeom>
          <a:noFill/>
          <a:ln w="2857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426453" y="5109835"/>
            <a:ext cx="383304" cy="325055"/>
          </a:xfrm>
          <a:prstGeom prst="roundRect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5896086" y="4494578"/>
            <a:ext cx="427176" cy="363564"/>
          </a:xfrm>
          <a:prstGeom prst="roundRect">
            <a:avLst/>
          </a:prstGeom>
          <a:solidFill>
            <a:sysClr val="window" lastClr="FFFFFF">
              <a:lumMod val="50000"/>
              <a:alpha val="50196"/>
            </a:sys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200" kern="0">
              <a:solidFill>
                <a:sysClr val="window" lastClr="FFFFFF"/>
              </a:solidFill>
              <a:ea typeface="ＭＳ Ｐゴシック" charset="0"/>
              <a:cs typeface="Century Gothic"/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047908" y="4608580"/>
            <a:ext cx="378545" cy="321018"/>
          </a:xfrm>
          <a:prstGeom prst="roundRect">
            <a:avLst/>
          </a:prstGeom>
          <a:solidFill>
            <a:srgbClr val="840C26">
              <a:alpha val="85000"/>
            </a:srgbClr>
          </a:soli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sz="1350" kern="0">
              <a:solidFill>
                <a:sysClr val="window" lastClr="FFFFFF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0761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Box 16"/>
          <p:cNvSpPr txBox="1">
            <a:spLocks noChangeArrowheads="1"/>
          </p:cNvSpPr>
          <p:nvPr userDrawn="1"/>
        </p:nvSpPr>
        <p:spPr bwMode="auto">
          <a:xfrm>
            <a:off x="-14654" y="4982766"/>
            <a:ext cx="2281604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MY" sz="4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  <a:ea typeface="ＭＳ Ｐゴシック" charset="0"/>
              </a:rPr>
              <a:t>©2016 The iA Group - </a:t>
            </a:r>
            <a:r>
              <a:rPr lang="en-GB" sz="4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  <a:ea typeface="ＭＳ Ｐゴシック" charset="0"/>
              </a:rPr>
              <a:t>All Rights Reserved</a:t>
            </a:r>
          </a:p>
        </p:txBody>
      </p:sp>
      <p:sp>
        <p:nvSpPr>
          <p:cNvPr id="34" name="Title Placeholder 1"/>
          <p:cNvSpPr>
            <a:spLocks noGrp="1"/>
          </p:cNvSpPr>
          <p:nvPr>
            <p:ph type="title"/>
          </p:nvPr>
        </p:nvSpPr>
        <p:spPr>
          <a:xfrm>
            <a:off x="1742161" y="1937517"/>
            <a:ext cx="7257625" cy="857250"/>
          </a:xfrm>
          <a:prstGeom prst="rect">
            <a:avLst/>
          </a:prstGeom>
        </p:spPr>
        <p:txBody>
          <a:bodyPr rtlCol="0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010400" y="4866087"/>
            <a:ext cx="2133600" cy="273844"/>
          </a:xfrm>
        </p:spPr>
        <p:txBody>
          <a:bodyPr anchor="b"/>
          <a:lstStyle>
            <a:lvl1pPr algn="r">
              <a:defRPr sz="599" smtClean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E6585526-E6A1-644B-956F-6382B88F94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2" name="Rounded Rectangle 31"/>
          <p:cNvSpPr/>
          <p:nvPr userDrawn="1"/>
        </p:nvSpPr>
        <p:spPr>
          <a:xfrm rot="5400000">
            <a:off x="172613" y="-413933"/>
            <a:ext cx="253604" cy="342474"/>
          </a:xfrm>
          <a:prstGeom prst="roundRect">
            <a:avLst/>
          </a:prstGeom>
          <a:solidFill>
            <a:srgbClr val="6A091F">
              <a:alpha val="61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33" name="Rounded Rectangle 32"/>
          <p:cNvSpPr/>
          <p:nvPr userDrawn="1"/>
        </p:nvSpPr>
        <p:spPr>
          <a:xfrm rot="5400000">
            <a:off x="574073" y="2530774"/>
            <a:ext cx="541735" cy="731578"/>
          </a:xfrm>
          <a:prstGeom prst="roundRect">
            <a:avLst/>
          </a:prstGeom>
          <a:solidFill>
            <a:srgbClr val="6A091F">
              <a:alpha val="61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35" name="Rounded Rectangle 34"/>
          <p:cNvSpPr/>
          <p:nvPr userDrawn="1"/>
        </p:nvSpPr>
        <p:spPr>
          <a:xfrm rot="5400000">
            <a:off x="302361" y="1962713"/>
            <a:ext cx="681038" cy="919698"/>
          </a:xfrm>
          <a:prstGeom prst="roundRect">
            <a:avLst/>
          </a:prstGeom>
          <a:solidFill>
            <a:srgbClr val="840C2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36" name="Rounded Rectangle 35"/>
          <p:cNvSpPr/>
          <p:nvPr userDrawn="1"/>
        </p:nvSpPr>
        <p:spPr>
          <a:xfrm rot="5400000">
            <a:off x="248256" y="2940155"/>
            <a:ext cx="513000" cy="692775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37" name="Rounded Rectangle 36"/>
          <p:cNvSpPr/>
          <p:nvPr userDrawn="1"/>
        </p:nvSpPr>
        <p:spPr>
          <a:xfrm rot="5400000">
            <a:off x="411304" y="1624449"/>
            <a:ext cx="463153" cy="627067"/>
          </a:xfrm>
          <a:prstGeom prst="roundRect">
            <a:avLst/>
          </a:prstGeom>
          <a:solidFill>
            <a:schemeClr val="bg1">
              <a:lumMod val="50000"/>
              <a:alpha val="50196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38" name="Rounded Rectangle 37"/>
          <p:cNvSpPr/>
          <p:nvPr userDrawn="1"/>
        </p:nvSpPr>
        <p:spPr>
          <a:xfrm rot="5400000">
            <a:off x="235541" y="1380143"/>
            <a:ext cx="436960" cy="590086"/>
          </a:xfrm>
          <a:prstGeom prst="roundRect">
            <a:avLst/>
          </a:prstGeom>
          <a:noFill/>
          <a:ln w="28575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39" name="Rounded Rectangle 38"/>
          <p:cNvSpPr/>
          <p:nvPr userDrawn="1"/>
        </p:nvSpPr>
        <p:spPr>
          <a:xfrm rot="5400000">
            <a:off x="601019" y="-203688"/>
            <a:ext cx="494109" cy="667265"/>
          </a:xfrm>
          <a:prstGeom prst="roundRect">
            <a:avLst/>
          </a:prstGeom>
          <a:solidFill>
            <a:schemeClr val="bg1">
              <a:lumMod val="50000"/>
              <a:alpha val="82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40" name="Rounded Rectangle 39"/>
          <p:cNvSpPr/>
          <p:nvPr userDrawn="1"/>
        </p:nvSpPr>
        <p:spPr>
          <a:xfrm rot="5400000">
            <a:off x="188583" y="4459027"/>
            <a:ext cx="432000" cy="531692"/>
          </a:xfrm>
          <a:prstGeom prst="roundRect">
            <a:avLst/>
          </a:prstGeom>
          <a:solidFill>
            <a:schemeClr val="bg1">
              <a:lumMod val="50000"/>
              <a:alpha val="50196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41" name="Rounded Rectangle 40"/>
          <p:cNvSpPr/>
          <p:nvPr userDrawn="1"/>
        </p:nvSpPr>
        <p:spPr>
          <a:xfrm rot="5400000">
            <a:off x="562132" y="4544413"/>
            <a:ext cx="432000" cy="498462"/>
          </a:xfrm>
          <a:prstGeom prst="roundRect">
            <a:avLst/>
          </a:prstGeom>
          <a:solidFill>
            <a:srgbClr val="840C2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42" name="Rounded Rectangle 41"/>
          <p:cNvSpPr/>
          <p:nvPr userDrawn="1"/>
        </p:nvSpPr>
        <p:spPr>
          <a:xfrm rot="5400000">
            <a:off x="447399" y="3311037"/>
            <a:ext cx="540000" cy="729236"/>
          </a:xfrm>
          <a:prstGeom prst="roundRect">
            <a:avLst/>
          </a:prstGeom>
          <a:solidFill>
            <a:srgbClr val="6A091F">
              <a:alpha val="61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43" name="Rounded Rectangle 42"/>
          <p:cNvSpPr/>
          <p:nvPr userDrawn="1"/>
        </p:nvSpPr>
        <p:spPr>
          <a:xfrm rot="5400000">
            <a:off x="379210" y="2501441"/>
            <a:ext cx="526256" cy="710676"/>
          </a:xfrm>
          <a:prstGeom prst="roundRect">
            <a:avLst/>
          </a:prstGeom>
          <a:noFill/>
          <a:ln w="19050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44" name="Rounded Rectangle 43"/>
          <p:cNvSpPr/>
          <p:nvPr userDrawn="1"/>
        </p:nvSpPr>
        <p:spPr>
          <a:xfrm rot="5400000">
            <a:off x="621968" y="1154332"/>
            <a:ext cx="407194" cy="551497"/>
          </a:xfrm>
          <a:prstGeom prst="roundRect">
            <a:avLst/>
          </a:prstGeom>
          <a:solidFill>
            <a:schemeClr val="bg1">
              <a:lumMod val="50000"/>
              <a:alpha val="50196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45" name="Rounded Rectangle 44"/>
          <p:cNvSpPr/>
          <p:nvPr userDrawn="1"/>
        </p:nvSpPr>
        <p:spPr>
          <a:xfrm rot="5400000">
            <a:off x="651292" y="589694"/>
            <a:ext cx="556022" cy="750872"/>
          </a:xfrm>
          <a:prstGeom prst="roundRect">
            <a:avLst/>
          </a:prstGeom>
          <a:solidFill>
            <a:srgbClr val="840C26">
              <a:alpha val="8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46" name="Rounded Rectangle 45"/>
          <p:cNvSpPr/>
          <p:nvPr userDrawn="1"/>
        </p:nvSpPr>
        <p:spPr>
          <a:xfrm rot="5400000">
            <a:off x="217064" y="221716"/>
            <a:ext cx="486000" cy="656312"/>
          </a:xfrm>
          <a:prstGeom prst="roundRect">
            <a:avLst/>
          </a:prstGeom>
          <a:solidFill>
            <a:srgbClr val="6A091F">
              <a:alpha val="61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47" name="Rounded Rectangle 46"/>
          <p:cNvSpPr/>
          <p:nvPr userDrawn="1"/>
        </p:nvSpPr>
        <p:spPr>
          <a:xfrm rot="5400000">
            <a:off x="354599" y="840763"/>
            <a:ext cx="491728" cy="664049"/>
          </a:xfrm>
          <a:prstGeom prst="roundRect">
            <a:avLst>
              <a:gd name="adj" fmla="val 12665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48" name="Rounded Rectangle 47"/>
          <p:cNvSpPr/>
          <p:nvPr userDrawn="1"/>
        </p:nvSpPr>
        <p:spPr>
          <a:xfrm rot="5400000">
            <a:off x="725387" y="-399516"/>
            <a:ext cx="304800" cy="410006"/>
          </a:xfrm>
          <a:prstGeom prst="roundRect">
            <a:avLst/>
          </a:prstGeom>
          <a:noFill/>
          <a:ln w="28575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49" name="Rounded Rectangle 48"/>
          <p:cNvSpPr/>
          <p:nvPr userDrawn="1"/>
        </p:nvSpPr>
        <p:spPr>
          <a:xfrm rot="5400000">
            <a:off x="957857" y="4492709"/>
            <a:ext cx="378000" cy="465231"/>
          </a:xfrm>
          <a:prstGeom prst="roundRect">
            <a:avLst/>
          </a:prstGeom>
          <a:noFill/>
          <a:ln w="19050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50" name="Rounded Rectangle 49"/>
          <p:cNvSpPr/>
          <p:nvPr userDrawn="1"/>
        </p:nvSpPr>
        <p:spPr>
          <a:xfrm rot="5400000">
            <a:off x="595564" y="1042694"/>
            <a:ext cx="458391" cy="620635"/>
          </a:xfrm>
          <a:prstGeom prst="roundRect">
            <a:avLst/>
          </a:prstGeom>
          <a:noFill/>
          <a:ln w="19050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51" name="Rounded Rectangle 50"/>
          <p:cNvSpPr/>
          <p:nvPr userDrawn="1"/>
        </p:nvSpPr>
        <p:spPr>
          <a:xfrm rot="5400000">
            <a:off x="349997" y="137443"/>
            <a:ext cx="348854" cy="471105"/>
          </a:xfrm>
          <a:prstGeom prst="roundRect">
            <a:avLst/>
          </a:prstGeom>
          <a:noFill/>
          <a:ln w="19050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52" name="Rounded Rectangle 51"/>
          <p:cNvSpPr/>
          <p:nvPr userDrawn="1"/>
        </p:nvSpPr>
        <p:spPr>
          <a:xfrm rot="5400000">
            <a:off x="266609" y="-257516"/>
            <a:ext cx="297000" cy="401080"/>
          </a:xfrm>
          <a:prstGeom prst="roundRect">
            <a:avLst/>
          </a:prstGeom>
          <a:noFill/>
          <a:ln w="19050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53" name="Rounded Rectangle 52"/>
          <p:cNvSpPr/>
          <p:nvPr userDrawn="1"/>
        </p:nvSpPr>
        <p:spPr>
          <a:xfrm rot="5400000">
            <a:off x="985008" y="3198980"/>
            <a:ext cx="330994" cy="448595"/>
          </a:xfrm>
          <a:prstGeom prst="roundRect">
            <a:avLst/>
          </a:prstGeom>
          <a:solidFill>
            <a:schemeClr val="bg1">
              <a:lumMod val="50000"/>
              <a:alpha val="50196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504" y="3898106"/>
            <a:ext cx="860439" cy="675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86610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16"/>
          <p:cNvSpPr txBox="1">
            <a:spLocks noChangeArrowheads="1"/>
          </p:cNvSpPr>
          <p:nvPr/>
        </p:nvSpPr>
        <p:spPr bwMode="auto">
          <a:xfrm>
            <a:off x="-14654" y="4972050"/>
            <a:ext cx="2281604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MY" sz="4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  <a:ea typeface="ＭＳ Ｐゴシック" charset="0"/>
              </a:rPr>
              <a:t>©2016 The iA Group - </a:t>
            </a:r>
            <a:r>
              <a:rPr lang="en-GB" sz="4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  <a:ea typeface="ＭＳ Ｐゴシック" charset="0"/>
              </a:rPr>
              <a:t>All Rights Reserved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841829" y="-4823"/>
            <a:ext cx="8302170" cy="725355"/>
          </a:xfrm>
          <a:prstGeom prst="rect">
            <a:avLst/>
          </a:prstGeom>
        </p:spPr>
        <p:txBody>
          <a:bodyPr rtlCol="0">
            <a:normAutofit/>
          </a:bodyPr>
          <a:lstStyle>
            <a:lvl1pPr algn="l">
              <a:defRPr>
                <a:solidFill>
                  <a:srgbClr val="9427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57200" y="869812"/>
            <a:ext cx="8229600" cy="3692164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15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010400" y="4866087"/>
            <a:ext cx="2133600" cy="273844"/>
          </a:xfrm>
        </p:spPr>
        <p:txBody>
          <a:bodyPr anchor="b"/>
          <a:lstStyle>
            <a:lvl1pPr algn="r">
              <a:defRPr sz="599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(</a:t>
            </a:r>
            <a:fld id="{DFA90C67-0714-4900-89CC-4E5D3205517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)</a:t>
            </a:r>
          </a:p>
        </p:txBody>
      </p:sp>
      <p:sp>
        <p:nvSpPr>
          <p:cNvPr id="12" name="Rounded Rectangle 11"/>
          <p:cNvSpPr/>
          <p:nvPr userDrawn="1"/>
        </p:nvSpPr>
        <p:spPr>
          <a:xfrm>
            <a:off x="599343" y="-1191"/>
            <a:ext cx="241788" cy="19645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>
            <a:off x="-14653" y="-4762"/>
            <a:ext cx="356089" cy="289322"/>
          </a:xfrm>
          <a:prstGeom prst="roundRect">
            <a:avLst/>
          </a:prstGeom>
          <a:solidFill>
            <a:srgbClr val="A80E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6" name="Rounded Rectangle 15"/>
          <p:cNvSpPr/>
          <p:nvPr userDrawn="1"/>
        </p:nvSpPr>
        <p:spPr>
          <a:xfrm>
            <a:off x="293076" y="386572"/>
            <a:ext cx="272562" cy="221456"/>
          </a:xfrm>
          <a:prstGeom prst="roundRect">
            <a:avLst/>
          </a:prstGeom>
          <a:solidFill>
            <a:srgbClr val="A13E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7" name="Rounded Rectangle 16"/>
          <p:cNvSpPr/>
          <p:nvPr userDrawn="1"/>
        </p:nvSpPr>
        <p:spPr>
          <a:xfrm>
            <a:off x="0" y="423864"/>
            <a:ext cx="373674" cy="302419"/>
          </a:xfrm>
          <a:prstGeom prst="roundRect">
            <a:avLst/>
          </a:prstGeom>
          <a:solidFill>
            <a:schemeClr val="bg1">
              <a:lumMod val="50000"/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8" name="Rounded Rectangle 17"/>
          <p:cNvSpPr/>
          <p:nvPr userDrawn="1"/>
        </p:nvSpPr>
        <p:spPr>
          <a:xfrm>
            <a:off x="87925" y="364465"/>
            <a:ext cx="285750" cy="232812"/>
          </a:xfrm>
          <a:prstGeom prst="roundRect">
            <a:avLst>
              <a:gd name="adj" fmla="val 7737"/>
            </a:avLst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9" name="Rounded Rectangle 18"/>
          <p:cNvSpPr/>
          <p:nvPr userDrawn="1"/>
        </p:nvSpPr>
        <p:spPr>
          <a:xfrm rot="16200000" flipV="1">
            <a:off x="252802" y="34226"/>
            <a:ext cx="282774" cy="348030"/>
          </a:xfrm>
          <a:prstGeom prst="roundRect">
            <a:avLst/>
          </a:prstGeom>
          <a:solidFill>
            <a:srgbClr val="A13E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Rounded Rectangle 19"/>
          <p:cNvSpPr/>
          <p:nvPr userDrawn="1"/>
        </p:nvSpPr>
        <p:spPr>
          <a:xfrm rot="16200000" flipV="1">
            <a:off x="152457" y="44203"/>
            <a:ext cx="135434" cy="166688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ounded Rectangle 20"/>
          <p:cNvSpPr/>
          <p:nvPr userDrawn="1"/>
        </p:nvSpPr>
        <p:spPr>
          <a:xfrm>
            <a:off x="428733" y="161755"/>
            <a:ext cx="301661" cy="244094"/>
          </a:xfrm>
          <a:prstGeom prst="roundRect">
            <a:avLst/>
          </a:prstGeom>
          <a:noFill/>
          <a:ln w="19050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705"/>
          <a:stretch/>
        </p:blipFill>
        <p:spPr bwMode="auto">
          <a:xfrm>
            <a:off x="8376026" y="33468"/>
            <a:ext cx="732478" cy="582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8434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0590"/>
          <a:stretch/>
        </p:blipFill>
        <p:spPr bwMode="auto">
          <a:xfrm>
            <a:off x="5880975" y="812125"/>
            <a:ext cx="3282921" cy="4125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lide Number Placeholder 5"/>
          <p:cNvSpPr txBox="1">
            <a:spLocks/>
          </p:cNvSpPr>
          <p:nvPr/>
        </p:nvSpPr>
        <p:spPr>
          <a:xfrm>
            <a:off x="7010400" y="4866087"/>
            <a:ext cx="2133600" cy="273844"/>
          </a:xfrm>
          <a:prstGeom prst="rect">
            <a:avLst/>
          </a:prstGeom>
        </p:spPr>
        <p:txBody>
          <a:bodyPr anchor="b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1A7F295-0E2B-674C-9527-B73C6742DFB1}" type="slidenum">
              <a:rPr lang="en-US" sz="599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sz="599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Text Box 16"/>
          <p:cNvSpPr txBox="1">
            <a:spLocks noChangeArrowheads="1"/>
          </p:cNvSpPr>
          <p:nvPr/>
        </p:nvSpPr>
        <p:spPr bwMode="auto">
          <a:xfrm>
            <a:off x="-14654" y="4972050"/>
            <a:ext cx="2281604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MY" sz="4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  <a:ea typeface="ＭＳ Ｐゴシック" charset="0"/>
              </a:rPr>
              <a:t>©2016 The iA Group - </a:t>
            </a:r>
            <a:r>
              <a:rPr lang="en-GB" sz="4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  <a:ea typeface="ＭＳ Ｐゴシック" charset="0"/>
              </a:rPr>
              <a:t>All Rights Reserved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841829" y="-4823"/>
            <a:ext cx="8302170" cy="725355"/>
          </a:xfrm>
          <a:prstGeom prst="rect">
            <a:avLst/>
          </a:prstGeom>
        </p:spPr>
        <p:txBody>
          <a:bodyPr rtlCol="0">
            <a:normAutofit/>
          </a:bodyPr>
          <a:lstStyle>
            <a:lvl1pPr algn="l">
              <a:defRPr>
                <a:solidFill>
                  <a:srgbClr val="9427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57200" y="869812"/>
            <a:ext cx="8229600" cy="3692164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Rounded Rectangle 13"/>
          <p:cNvSpPr/>
          <p:nvPr userDrawn="1"/>
        </p:nvSpPr>
        <p:spPr>
          <a:xfrm>
            <a:off x="599343" y="-1191"/>
            <a:ext cx="241788" cy="19645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6" name="Rounded Rectangle 15"/>
          <p:cNvSpPr/>
          <p:nvPr userDrawn="1"/>
        </p:nvSpPr>
        <p:spPr>
          <a:xfrm>
            <a:off x="-14653" y="-4762"/>
            <a:ext cx="356089" cy="289322"/>
          </a:xfrm>
          <a:prstGeom prst="roundRect">
            <a:avLst/>
          </a:prstGeom>
          <a:solidFill>
            <a:srgbClr val="A80E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7" name="Rounded Rectangle 16"/>
          <p:cNvSpPr/>
          <p:nvPr userDrawn="1"/>
        </p:nvSpPr>
        <p:spPr>
          <a:xfrm>
            <a:off x="293076" y="386572"/>
            <a:ext cx="272562" cy="221456"/>
          </a:xfrm>
          <a:prstGeom prst="roundRect">
            <a:avLst/>
          </a:prstGeom>
          <a:solidFill>
            <a:srgbClr val="A13E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8" name="Rounded Rectangle 17"/>
          <p:cNvSpPr/>
          <p:nvPr userDrawn="1"/>
        </p:nvSpPr>
        <p:spPr>
          <a:xfrm>
            <a:off x="0" y="423864"/>
            <a:ext cx="373674" cy="302419"/>
          </a:xfrm>
          <a:prstGeom prst="roundRect">
            <a:avLst/>
          </a:prstGeom>
          <a:solidFill>
            <a:schemeClr val="bg1">
              <a:lumMod val="50000"/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9" name="Rounded Rectangle 18"/>
          <p:cNvSpPr/>
          <p:nvPr userDrawn="1"/>
        </p:nvSpPr>
        <p:spPr>
          <a:xfrm>
            <a:off x="87925" y="364465"/>
            <a:ext cx="285750" cy="232812"/>
          </a:xfrm>
          <a:prstGeom prst="roundRect">
            <a:avLst>
              <a:gd name="adj" fmla="val 7737"/>
            </a:avLst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0" name="Rounded Rectangle 19"/>
          <p:cNvSpPr/>
          <p:nvPr userDrawn="1"/>
        </p:nvSpPr>
        <p:spPr>
          <a:xfrm rot="16200000" flipV="1">
            <a:off x="252802" y="34226"/>
            <a:ext cx="282774" cy="348030"/>
          </a:xfrm>
          <a:prstGeom prst="roundRect">
            <a:avLst/>
          </a:prstGeom>
          <a:solidFill>
            <a:srgbClr val="A13E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ounded Rectangle 20"/>
          <p:cNvSpPr/>
          <p:nvPr userDrawn="1"/>
        </p:nvSpPr>
        <p:spPr>
          <a:xfrm rot="16200000" flipV="1">
            <a:off x="152457" y="44203"/>
            <a:ext cx="135434" cy="166688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" name="Rounded Rectangle 21"/>
          <p:cNvSpPr/>
          <p:nvPr userDrawn="1"/>
        </p:nvSpPr>
        <p:spPr>
          <a:xfrm>
            <a:off x="428733" y="161755"/>
            <a:ext cx="301661" cy="244094"/>
          </a:xfrm>
          <a:prstGeom prst="roundRect">
            <a:avLst/>
          </a:prstGeom>
          <a:noFill/>
          <a:ln w="19050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945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16"/>
          <p:cNvSpPr txBox="1">
            <a:spLocks noChangeArrowheads="1"/>
          </p:cNvSpPr>
          <p:nvPr/>
        </p:nvSpPr>
        <p:spPr bwMode="auto">
          <a:xfrm>
            <a:off x="-14654" y="4972050"/>
            <a:ext cx="2281604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MY" sz="4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  <a:ea typeface="ＭＳ Ｐゴシック" charset="0"/>
              </a:rPr>
              <a:t>©2016 The iA Group - </a:t>
            </a:r>
            <a:r>
              <a:rPr lang="en-GB" sz="450" dirty="0">
                <a:solidFill>
                  <a:prstClr val="white">
                    <a:lumMod val="65000"/>
                  </a:prstClr>
                </a:solidFill>
                <a:latin typeface="Century Gothic" panose="020B0502020202020204" pitchFamily="34" charset="0"/>
                <a:ea typeface="ＭＳ Ｐゴシック" charset="0"/>
              </a:rPr>
              <a:t>All Rights Reserved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841829" y="-4823"/>
            <a:ext cx="8302170" cy="725355"/>
          </a:xfrm>
          <a:prstGeom prst="rect">
            <a:avLst/>
          </a:prstGeom>
        </p:spPr>
        <p:txBody>
          <a:bodyPr rtlCol="0">
            <a:normAutofit/>
          </a:bodyPr>
          <a:lstStyle>
            <a:lvl1pPr algn="l">
              <a:defRPr>
                <a:solidFill>
                  <a:srgbClr val="9427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457200" y="869812"/>
            <a:ext cx="8229600" cy="3692164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010400" y="4866087"/>
            <a:ext cx="2133600" cy="273844"/>
          </a:xfrm>
        </p:spPr>
        <p:txBody>
          <a:bodyPr anchor="b"/>
          <a:lstStyle>
            <a:lvl1pPr algn="r">
              <a:defRPr sz="599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9E3BDA9-EF6B-9042-8195-84743885960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Rounded Rectangle 11"/>
          <p:cNvSpPr/>
          <p:nvPr userDrawn="1"/>
        </p:nvSpPr>
        <p:spPr>
          <a:xfrm>
            <a:off x="599343" y="-1191"/>
            <a:ext cx="241788" cy="19645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5" name="Rounded Rectangle 14"/>
          <p:cNvSpPr/>
          <p:nvPr userDrawn="1"/>
        </p:nvSpPr>
        <p:spPr>
          <a:xfrm>
            <a:off x="-14653" y="-4762"/>
            <a:ext cx="356089" cy="289322"/>
          </a:xfrm>
          <a:prstGeom prst="roundRect">
            <a:avLst/>
          </a:prstGeom>
          <a:solidFill>
            <a:srgbClr val="A80E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6" name="Rounded Rectangle 15"/>
          <p:cNvSpPr/>
          <p:nvPr userDrawn="1"/>
        </p:nvSpPr>
        <p:spPr>
          <a:xfrm>
            <a:off x="293076" y="386572"/>
            <a:ext cx="272562" cy="221456"/>
          </a:xfrm>
          <a:prstGeom prst="roundRect">
            <a:avLst/>
          </a:prstGeom>
          <a:solidFill>
            <a:srgbClr val="A13E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7" name="Rounded Rectangle 16"/>
          <p:cNvSpPr/>
          <p:nvPr userDrawn="1"/>
        </p:nvSpPr>
        <p:spPr>
          <a:xfrm>
            <a:off x="0" y="423864"/>
            <a:ext cx="373674" cy="302419"/>
          </a:xfrm>
          <a:prstGeom prst="roundRect">
            <a:avLst/>
          </a:prstGeom>
          <a:solidFill>
            <a:schemeClr val="bg1">
              <a:lumMod val="50000"/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8" name="Rounded Rectangle 17"/>
          <p:cNvSpPr/>
          <p:nvPr userDrawn="1"/>
        </p:nvSpPr>
        <p:spPr>
          <a:xfrm>
            <a:off x="87925" y="364465"/>
            <a:ext cx="285750" cy="232812"/>
          </a:xfrm>
          <a:prstGeom prst="roundRect">
            <a:avLst>
              <a:gd name="adj" fmla="val 7737"/>
            </a:avLst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9" name="Rounded Rectangle 18"/>
          <p:cNvSpPr/>
          <p:nvPr userDrawn="1"/>
        </p:nvSpPr>
        <p:spPr>
          <a:xfrm rot="16200000" flipV="1">
            <a:off x="252802" y="34226"/>
            <a:ext cx="282774" cy="348030"/>
          </a:xfrm>
          <a:prstGeom prst="roundRect">
            <a:avLst/>
          </a:prstGeom>
          <a:solidFill>
            <a:srgbClr val="A13E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Rounded Rectangle 19"/>
          <p:cNvSpPr/>
          <p:nvPr userDrawn="1"/>
        </p:nvSpPr>
        <p:spPr>
          <a:xfrm rot="16200000" flipV="1">
            <a:off x="152457" y="44203"/>
            <a:ext cx="135434" cy="166688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Rounded Rectangle 20"/>
          <p:cNvSpPr/>
          <p:nvPr userDrawn="1"/>
        </p:nvSpPr>
        <p:spPr>
          <a:xfrm>
            <a:off x="428733" y="161755"/>
            <a:ext cx="301661" cy="244094"/>
          </a:xfrm>
          <a:prstGeom prst="roundRect">
            <a:avLst/>
          </a:prstGeom>
          <a:noFill/>
          <a:ln w="19050" cmpd="sng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42898">
              <a:defRPr/>
            </a:pPr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705"/>
          <a:stretch/>
        </p:blipFill>
        <p:spPr bwMode="auto">
          <a:xfrm>
            <a:off x="8376026" y="33468"/>
            <a:ext cx="732478" cy="582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0111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713" y="194838"/>
            <a:ext cx="8246070" cy="763526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6843" y="1275735"/>
            <a:ext cx="8246070" cy="3262122"/>
          </a:xfrm>
        </p:spPr>
        <p:txBody>
          <a:bodyPr/>
          <a:lstStyle>
            <a:lvl1pPr algn="l">
              <a:defRPr sz="2800">
                <a:solidFill>
                  <a:schemeClr val="tx1"/>
                </a:solidFill>
              </a:defRPr>
            </a:lvl1pPr>
            <a:lvl2pPr algn="l">
              <a:defRPr>
                <a:solidFill>
                  <a:schemeClr val="tx1"/>
                </a:solidFill>
              </a:defRPr>
            </a:lvl2pPr>
            <a:lvl3pPr algn="l">
              <a:defRPr>
                <a:solidFill>
                  <a:schemeClr val="tx1"/>
                </a:solidFill>
              </a:defRPr>
            </a:lvl3pPr>
            <a:lvl4pPr algn="l">
              <a:defRPr>
                <a:solidFill>
                  <a:schemeClr val="tx1"/>
                </a:solidFill>
              </a:defRPr>
            </a:lvl4pPr>
            <a:lvl5pPr algn="l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471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5500" y="605639"/>
            <a:ext cx="6461299" cy="725349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25500" y="1519084"/>
            <a:ext cx="6461299" cy="3221032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3913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441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791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2693" y="220024"/>
            <a:ext cx="8093365" cy="763525"/>
          </a:xfrm>
        </p:spPr>
        <p:txBody>
          <a:bodyPr>
            <a:normAutofit/>
          </a:bodyPr>
          <a:lstStyle>
            <a:lvl1pPr algn="r">
              <a:defRPr sz="3600" baseline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6879" y="1552291"/>
            <a:ext cx="4040188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6879" y="2024688"/>
            <a:ext cx="4040188" cy="2276294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72000" y="1552291"/>
            <a:ext cx="4041775" cy="479822"/>
          </a:xfrm>
        </p:spPr>
        <p:txBody>
          <a:bodyPr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2000" y="2024688"/>
            <a:ext cx="4041775" cy="2276294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tx1"/>
                </a:solidFill>
              </a:defRPr>
            </a:lvl2pPr>
            <a:lvl3pPr algn="ctr">
              <a:defRPr sz="1800">
                <a:solidFill>
                  <a:schemeClr val="tx1"/>
                </a:solidFill>
              </a:defRPr>
            </a:lvl3pPr>
            <a:lvl4pPr algn="ctr">
              <a:defRPr sz="1600">
                <a:solidFill>
                  <a:schemeClr val="tx1"/>
                </a:solidFill>
              </a:defRPr>
            </a:lvl4pPr>
            <a:lvl5pPr algn="ctr"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9119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7731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8640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452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74F12-AA26-4AC8-9962-C36BB8F32554}" type="datetimeFigureOut">
              <a:rPr lang="en-US" smtClean="0"/>
              <a:pPr/>
              <a:t>18/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2CCC60-E8CD-4174-8B1A-7DF615B22E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11E867DF-3DCA-4725-94F0-F2B6BD747A82}"/>
              </a:ext>
            </a:extLst>
          </p:cNvPr>
          <p:cNvSpPr txBox="1"/>
          <p:nvPr userDrawn="1"/>
        </p:nvSpPr>
        <p:spPr>
          <a:xfrm>
            <a:off x="-9150" y="5213747"/>
            <a:ext cx="83896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This presentation uses a free template provided by FPPT.com</a:t>
            </a:r>
          </a:p>
          <a:p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www.free-power-point-templates.com</a:t>
            </a:r>
          </a:p>
        </p:txBody>
      </p:sp>
    </p:spTree>
    <p:extLst>
      <p:ext uri="{BB962C8B-B14F-4D97-AF65-F5344CB8AC3E}">
        <p14:creationId xmlns:p14="http://schemas.microsoft.com/office/powerpoint/2010/main" val="1944039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912935" y="2"/>
            <a:ext cx="8229600" cy="736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2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898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898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898">
              <a:defRPr/>
            </a:pPr>
            <a:fld id="{24A574B3-B6C4-9149-9CB8-DF6F7C11CEC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342898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615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</p:sldLayoutIdLst>
  <p:hf hdr="0" ftr="0" dt="0"/>
  <p:txStyles>
    <p:titleStyle>
      <a:lvl1pPr algn="l" defTabSz="342898" rtl="0" eaLnBrk="1" fontAlgn="base" hangingPunct="1">
        <a:spcBef>
          <a:spcPct val="0"/>
        </a:spcBef>
        <a:spcAft>
          <a:spcPct val="0"/>
        </a:spcAft>
        <a:defRPr sz="1500" b="1" kern="1200">
          <a:solidFill>
            <a:schemeClr val="tx1"/>
          </a:solidFill>
          <a:latin typeface="Century Gothic"/>
          <a:ea typeface="ＭＳ Ｐゴシック" charset="0"/>
          <a:cs typeface="Century Gothic"/>
        </a:defRPr>
      </a:lvl1pPr>
      <a:lvl2pPr algn="l" defTabSz="342898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Century Gothic" charset="0"/>
          <a:ea typeface="ＭＳ Ｐゴシック" charset="0"/>
        </a:defRPr>
      </a:lvl2pPr>
      <a:lvl3pPr algn="l" defTabSz="342898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Century Gothic" charset="0"/>
          <a:ea typeface="ＭＳ Ｐゴシック" charset="0"/>
        </a:defRPr>
      </a:lvl3pPr>
      <a:lvl4pPr algn="l" defTabSz="342898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Century Gothic" charset="0"/>
          <a:ea typeface="ＭＳ Ｐゴシック" charset="0"/>
        </a:defRPr>
      </a:lvl4pPr>
      <a:lvl5pPr algn="l" defTabSz="342898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Century Gothic" charset="0"/>
          <a:ea typeface="ＭＳ Ｐゴシック" charset="0"/>
        </a:defRPr>
      </a:lvl5pPr>
      <a:lvl6pPr marL="342898" algn="l" defTabSz="342898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Century Gothic" charset="0"/>
          <a:ea typeface="ＭＳ Ｐゴシック" charset="0"/>
        </a:defRPr>
      </a:lvl6pPr>
      <a:lvl7pPr marL="685796" algn="l" defTabSz="342898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Century Gothic" charset="0"/>
          <a:ea typeface="ＭＳ Ｐゴシック" charset="0"/>
        </a:defRPr>
      </a:lvl7pPr>
      <a:lvl8pPr marL="1028694" algn="l" defTabSz="342898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Century Gothic" charset="0"/>
          <a:ea typeface="ＭＳ Ｐゴシック" charset="0"/>
        </a:defRPr>
      </a:lvl8pPr>
      <a:lvl9pPr marL="1371592" algn="l" defTabSz="342898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1"/>
          </a:solidFill>
          <a:latin typeface="Century Gothic" charset="0"/>
          <a:ea typeface="ＭＳ Ｐゴシック" charset="0"/>
        </a:defRPr>
      </a:lvl9pPr>
    </p:titleStyle>
    <p:bodyStyle>
      <a:lvl1pPr marL="257174" indent="-257174" algn="l" defTabSz="342898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Century Gothic"/>
          <a:ea typeface="ＭＳ Ｐゴシック" charset="0"/>
          <a:cs typeface="Century Gothic"/>
        </a:defRPr>
      </a:lvl1pPr>
      <a:lvl2pPr marL="557210" indent="-214312" algn="l" defTabSz="342898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Century Gothic"/>
          <a:ea typeface="ＭＳ Ｐゴシック" charset="0"/>
          <a:cs typeface="Century Gothic"/>
        </a:defRPr>
      </a:lvl2pPr>
      <a:lvl3pPr marL="857245" indent="-171449" algn="l" defTabSz="342898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Century Gothic"/>
          <a:ea typeface="ＭＳ Ｐゴシック" charset="0"/>
          <a:cs typeface="Century Gothic"/>
        </a:defRPr>
      </a:lvl3pPr>
      <a:lvl4pPr marL="1200143" indent="-171449" algn="l" defTabSz="342898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chemeClr val="tx1"/>
          </a:solidFill>
          <a:latin typeface="Century Gothic"/>
          <a:ea typeface="ＭＳ Ｐゴシック" charset="0"/>
          <a:cs typeface="Century Gothic"/>
        </a:defRPr>
      </a:lvl4pPr>
      <a:lvl5pPr marL="1543041" indent="-171449" algn="l" defTabSz="342898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Century Gothic"/>
          <a:ea typeface="ＭＳ Ｐゴシック" charset="0"/>
          <a:cs typeface="Century Gothic"/>
        </a:defRPr>
      </a:lvl5pPr>
      <a:lvl6pPr marL="1885939" indent="-171449" algn="l" defTabSz="34289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37" indent="-171449" algn="l" defTabSz="34289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35" indent="-171449" algn="l" defTabSz="34289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33" indent="-171449" algn="l" defTabSz="342898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8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6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4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2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0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88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86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84" algn="l" defTabSz="34289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.mp3"/><Relationship Id="rId1" Type="http://schemas.microsoft.com/office/2007/relationships/media" Target="../media/media1.mp3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63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7349065" y="4786312"/>
            <a:ext cx="1600200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en-MY" altLang="en-US" sz="675" dirty="0" smtClean="0">
                <a:latin typeface="Cambria" panose="02040503050406030204" pitchFamily="18" charset="0"/>
              </a:rPr>
              <a:t>6</a:t>
            </a:r>
            <a:endParaRPr lang="en-MY" altLang="en-US" sz="675" dirty="0">
              <a:latin typeface="Cambria" panose="02040503050406030204" pitchFamily="18" charset="0"/>
            </a:endParaRPr>
          </a:p>
        </p:txBody>
      </p:sp>
      <p:grpSp>
        <p:nvGrpSpPr>
          <p:cNvPr id="8196" name="Group 17"/>
          <p:cNvGrpSpPr>
            <a:grpSpLocks/>
          </p:cNvGrpSpPr>
          <p:nvPr/>
        </p:nvGrpSpPr>
        <p:grpSpPr bwMode="auto">
          <a:xfrm>
            <a:off x="-648070" y="1084438"/>
            <a:ext cx="9685258" cy="3838796"/>
            <a:chOff x="-592213" y="718619"/>
            <a:chExt cx="9948742" cy="5828909"/>
          </a:xfrm>
        </p:grpSpPr>
        <p:pic>
          <p:nvPicPr>
            <p:cNvPr id="8208" name="Picture 2" descr="https://smallbiztrends.com/wp-content/uploads/2017/04/shutterstock_507013360-850x476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7379" y="1166634"/>
              <a:ext cx="1799150" cy="1482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09" name="Picture 2" descr="http://lewisaccountingandtaxservice.com/wp-content/uploads/2013/01/accounting1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205" y="4182587"/>
              <a:ext cx="1781652" cy="13958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313203" y="5702552"/>
              <a:ext cx="1063503" cy="34092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292190" latinLnBrk="1">
                <a:defRPr/>
              </a:pPr>
              <a:endParaRPr lang="en-MY" sz="14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15878" y="5627171"/>
              <a:ext cx="999372" cy="504054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>
              <a:spAutoFit/>
            </a:bodyPr>
            <a:lstStyle/>
            <a:p>
              <a:pPr defTabSz="292190" latinLnBrk="1">
                <a:defRPr/>
              </a:pPr>
              <a:r>
                <a:rPr lang="en-US" sz="1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FMAS</a:t>
              </a:r>
              <a:endParaRPr lang="en-MY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79301" y="6043474"/>
              <a:ext cx="2183142" cy="504054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>
              <a:spAutoFit/>
            </a:bodyPr>
            <a:lstStyle/>
            <a:p>
              <a:pPr defTabSz="292190" latinLnBrk="1">
                <a:defRPr/>
              </a:pPr>
              <a:r>
                <a:rPr lang="en-MY" sz="14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dified Cash Basis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885031" y="2693766"/>
              <a:ext cx="1227552" cy="3358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ctr" defTabSz="422041" fontAlgn="base">
                <a:spcBef>
                  <a:spcPct val="0"/>
                </a:spcBef>
                <a:spcAft>
                  <a:spcPct val="0"/>
                </a:spcAft>
                <a:defRPr sz="1662">
                  <a:solidFill>
                    <a:prstClr val="white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eaLnBrk="1" latinLnBrk="1" hangingPunct="1">
                <a:defRPr/>
              </a:pPr>
              <a:r>
                <a:rPr lang="en-US" sz="1400" b="1" dirty="0" err="1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GFMAS</a:t>
              </a:r>
              <a:endParaRPr lang="en-MY" sz="1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754868" y="3078952"/>
              <a:ext cx="1526775" cy="504054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>
              <a:spAutoFit/>
            </a:bodyPr>
            <a:lstStyle/>
            <a:p>
              <a:pPr defTabSz="292190" latinLnBrk="1">
                <a:defRPr/>
              </a:pPr>
              <a:r>
                <a:rPr lang="en-MY" sz="14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rual Basis</a:t>
              </a:r>
            </a:p>
          </p:txBody>
        </p:sp>
        <p:sp>
          <p:nvSpPr>
            <p:cNvPr id="44" name="Rectangle 43">
              <a:extLst/>
            </p:cNvPr>
            <p:cNvSpPr/>
            <p:nvPr/>
          </p:nvSpPr>
          <p:spPr bwMode="auto">
            <a:xfrm>
              <a:off x="4496982" y="5115371"/>
              <a:ext cx="1434347" cy="1015853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Rectangle 42">
              <a:extLst/>
            </p:cNvPr>
            <p:cNvSpPr/>
            <p:nvPr/>
          </p:nvSpPr>
          <p:spPr bwMode="auto">
            <a:xfrm>
              <a:off x="4007962" y="4144787"/>
              <a:ext cx="1349301" cy="116977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Rectangle 39">
              <a:extLst/>
            </p:cNvPr>
            <p:cNvSpPr/>
            <p:nvPr/>
          </p:nvSpPr>
          <p:spPr bwMode="auto">
            <a:xfrm>
              <a:off x="4740673" y="1461195"/>
              <a:ext cx="1350936" cy="1244013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9" name="Rectangle 2"/>
            <p:cNvSpPr txBox="1">
              <a:spLocks noChangeArrowheads="1"/>
            </p:cNvSpPr>
            <p:nvPr/>
          </p:nvSpPr>
          <p:spPr bwMode="auto">
            <a:xfrm>
              <a:off x="-592213" y="718619"/>
              <a:ext cx="5791820" cy="109040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58435" tIns="29218" rIns="58435" bIns="29218" anchor="ctr"/>
            <a:lstStyle>
              <a:lvl1pPr defTabSz="420688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defTabSz="420688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defTabSz="420688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defTabSz="420688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defTabSz="420688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defTabSz="420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defTabSz="420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defTabSz="420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defTabSz="4206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algn="ctr" latinLnBrk="1">
                <a:defRPr/>
              </a:pPr>
              <a:endParaRPr lang="en-US" altLang="en-US" sz="24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8197" name="Title 1"/>
          <p:cNvSpPr txBox="1">
            <a:spLocks/>
          </p:cNvSpPr>
          <p:nvPr/>
        </p:nvSpPr>
        <p:spPr bwMode="auto">
          <a:xfrm>
            <a:off x="959434" y="300001"/>
            <a:ext cx="8141923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latinLnBrk="1" hangingPunct="1">
              <a:defRPr/>
            </a:pPr>
            <a:r>
              <a:rPr lang="en-MY" altLang="en-US" sz="3200" b="1" dirty="0">
                <a:solidFill>
                  <a:srgbClr val="FFFF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Adoption </a:t>
            </a:r>
            <a:r>
              <a:rPr lang="en-MY" altLang="en-US" sz="3200" b="1" dirty="0" smtClean="0">
                <a:solidFill>
                  <a:srgbClr val="FFFF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of  </a:t>
            </a:r>
            <a:r>
              <a:rPr lang="en-MY" altLang="en-US" sz="3200" b="1" dirty="0">
                <a:solidFill>
                  <a:srgbClr val="FFFF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Accrual Accounting</a:t>
            </a:r>
          </a:p>
        </p:txBody>
      </p:sp>
      <p:pic>
        <p:nvPicPr>
          <p:cNvPr id="36" name="Picture 35" descr="C:\Users\nfarahin.ali\Downloads\logo napsac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2182" y="153113"/>
            <a:ext cx="835006" cy="653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Freeform 42"/>
          <p:cNvSpPr>
            <a:spLocks/>
          </p:cNvSpPr>
          <p:nvPr/>
        </p:nvSpPr>
        <p:spPr bwMode="auto">
          <a:xfrm>
            <a:off x="3666252" y="1424905"/>
            <a:ext cx="1761114" cy="3214016"/>
          </a:xfrm>
          <a:custGeom>
            <a:avLst/>
            <a:gdLst>
              <a:gd name="T0" fmla="*/ 752475 w 948"/>
              <a:gd name="T1" fmla="*/ 0 h 2432"/>
              <a:gd name="T2" fmla="*/ 374650 w 948"/>
              <a:gd name="T3" fmla="*/ 144463 h 2432"/>
              <a:gd name="T4" fmla="*/ 0 w 948"/>
              <a:gd name="T5" fmla="*/ 284163 h 2432"/>
              <a:gd name="T6" fmla="*/ 0 w 948"/>
              <a:gd name="T7" fmla="*/ 284163 h 2432"/>
              <a:gd name="T8" fmla="*/ 0 w 948"/>
              <a:gd name="T9" fmla="*/ 284163 h 2432"/>
              <a:gd name="T10" fmla="*/ 0 w 948"/>
              <a:gd name="T11" fmla="*/ 284163 h 2432"/>
              <a:gd name="T12" fmla="*/ 0 w 948"/>
              <a:gd name="T13" fmla="*/ 284163 h 2432"/>
              <a:gd name="T14" fmla="*/ 0 w 948"/>
              <a:gd name="T15" fmla="*/ 3860804 h 2432"/>
              <a:gd name="T16" fmla="*/ 1504950 w 948"/>
              <a:gd name="T17" fmla="*/ 3860804 h 2432"/>
              <a:gd name="T18" fmla="*/ 1504950 w 948"/>
              <a:gd name="T19" fmla="*/ 284163 h 2432"/>
              <a:gd name="T20" fmla="*/ 1504950 w 948"/>
              <a:gd name="T21" fmla="*/ 284163 h 2432"/>
              <a:gd name="T22" fmla="*/ 1130300 w 948"/>
              <a:gd name="T23" fmla="*/ 144463 h 2432"/>
              <a:gd name="T24" fmla="*/ 752475 w 948"/>
              <a:gd name="T25" fmla="*/ 0 h 243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948" h="2432">
                <a:moveTo>
                  <a:pt x="474" y="0"/>
                </a:moveTo>
                <a:lnTo>
                  <a:pt x="236" y="91"/>
                </a:lnTo>
                <a:lnTo>
                  <a:pt x="0" y="179"/>
                </a:lnTo>
                <a:lnTo>
                  <a:pt x="0" y="2432"/>
                </a:lnTo>
                <a:lnTo>
                  <a:pt x="948" y="2432"/>
                </a:lnTo>
                <a:lnTo>
                  <a:pt x="948" y="179"/>
                </a:lnTo>
                <a:lnTo>
                  <a:pt x="712" y="91"/>
                </a:lnTo>
                <a:lnTo>
                  <a:pt x="474" y="0"/>
                </a:lnTo>
                <a:close/>
              </a:path>
            </a:pathLst>
          </a:custGeom>
          <a:solidFill>
            <a:srgbClr val="FF912B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43"/>
          <p:cNvSpPr>
            <a:spLocks/>
          </p:cNvSpPr>
          <p:nvPr/>
        </p:nvSpPr>
        <p:spPr bwMode="auto">
          <a:xfrm>
            <a:off x="5436656" y="1176181"/>
            <a:ext cx="1766687" cy="3521939"/>
          </a:xfrm>
          <a:custGeom>
            <a:avLst/>
            <a:gdLst>
              <a:gd name="T0" fmla="*/ 757238 w 951"/>
              <a:gd name="T1" fmla="*/ 0 h 2665"/>
              <a:gd name="T2" fmla="*/ 377825 w 951"/>
              <a:gd name="T3" fmla="*/ 142875 h 2665"/>
              <a:gd name="T4" fmla="*/ 0 w 951"/>
              <a:gd name="T5" fmla="*/ 287338 h 2665"/>
              <a:gd name="T6" fmla="*/ 0 w 951"/>
              <a:gd name="T7" fmla="*/ 287338 h 2665"/>
              <a:gd name="T8" fmla="*/ 0 w 951"/>
              <a:gd name="T9" fmla="*/ 287338 h 2665"/>
              <a:gd name="T10" fmla="*/ 0 w 951"/>
              <a:gd name="T11" fmla="*/ 287338 h 2665"/>
              <a:gd name="T12" fmla="*/ 0 w 951"/>
              <a:gd name="T13" fmla="*/ 287338 h 2665"/>
              <a:gd name="T14" fmla="*/ 0 w 951"/>
              <a:gd name="T15" fmla="*/ 4230692 h 2665"/>
              <a:gd name="T16" fmla="*/ 1509713 w 951"/>
              <a:gd name="T17" fmla="*/ 4230692 h 2665"/>
              <a:gd name="T18" fmla="*/ 1509713 w 951"/>
              <a:gd name="T19" fmla="*/ 287338 h 2665"/>
              <a:gd name="T20" fmla="*/ 1509713 w 951"/>
              <a:gd name="T21" fmla="*/ 287338 h 2665"/>
              <a:gd name="T22" fmla="*/ 1131888 w 951"/>
              <a:gd name="T23" fmla="*/ 142875 h 2665"/>
              <a:gd name="T24" fmla="*/ 757238 w 951"/>
              <a:gd name="T25" fmla="*/ 0 h 266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951" h="2665">
                <a:moveTo>
                  <a:pt x="477" y="0"/>
                </a:moveTo>
                <a:lnTo>
                  <a:pt x="238" y="90"/>
                </a:lnTo>
                <a:lnTo>
                  <a:pt x="0" y="181"/>
                </a:lnTo>
                <a:lnTo>
                  <a:pt x="0" y="2665"/>
                </a:lnTo>
                <a:lnTo>
                  <a:pt x="951" y="2665"/>
                </a:lnTo>
                <a:lnTo>
                  <a:pt x="951" y="181"/>
                </a:lnTo>
                <a:lnTo>
                  <a:pt x="713" y="90"/>
                </a:lnTo>
                <a:lnTo>
                  <a:pt x="477" y="0"/>
                </a:lnTo>
                <a:close/>
              </a:path>
            </a:pathLst>
          </a:custGeom>
          <a:solidFill>
            <a:srgbClr val="FFCA59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46"/>
          <p:cNvSpPr>
            <a:spLocks/>
          </p:cNvSpPr>
          <p:nvPr/>
        </p:nvSpPr>
        <p:spPr bwMode="auto">
          <a:xfrm>
            <a:off x="3675542" y="4600708"/>
            <a:ext cx="2257124" cy="384571"/>
          </a:xfrm>
          <a:custGeom>
            <a:avLst/>
            <a:gdLst>
              <a:gd name="T0" fmla="*/ 0 w 1215"/>
              <a:gd name="T1" fmla="*/ 0 h 291"/>
              <a:gd name="T2" fmla="*/ 847725 w 1215"/>
              <a:gd name="T3" fmla="*/ 461963 h 291"/>
              <a:gd name="T4" fmla="*/ 1928813 w 1215"/>
              <a:gd name="T5" fmla="*/ 461963 h 291"/>
              <a:gd name="T6" fmla="*/ 1504950 w 1215"/>
              <a:gd name="T7" fmla="*/ 0 h 291"/>
              <a:gd name="T8" fmla="*/ 0 w 1215"/>
              <a:gd name="T9" fmla="*/ 0 h 2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15" h="291">
                <a:moveTo>
                  <a:pt x="0" y="0"/>
                </a:moveTo>
                <a:lnTo>
                  <a:pt x="534" y="291"/>
                </a:lnTo>
                <a:lnTo>
                  <a:pt x="1215" y="291"/>
                </a:lnTo>
                <a:lnTo>
                  <a:pt x="948" y="0"/>
                </a:lnTo>
                <a:lnTo>
                  <a:pt x="0" y="0"/>
                </a:lnTo>
                <a:close/>
              </a:path>
            </a:pathLst>
          </a:custGeom>
          <a:solidFill>
            <a:srgbClr val="DB7D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47"/>
          <p:cNvSpPr>
            <a:spLocks/>
          </p:cNvSpPr>
          <p:nvPr/>
        </p:nvSpPr>
        <p:spPr bwMode="auto">
          <a:xfrm>
            <a:off x="5436656" y="4600708"/>
            <a:ext cx="1766687" cy="384571"/>
          </a:xfrm>
          <a:custGeom>
            <a:avLst/>
            <a:gdLst>
              <a:gd name="T0" fmla="*/ 1509713 w 951"/>
              <a:gd name="T1" fmla="*/ 0 h 291"/>
              <a:gd name="T2" fmla="*/ 1509713 w 951"/>
              <a:gd name="T3" fmla="*/ 461963 h 291"/>
              <a:gd name="T4" fmla="*/ 423863 w 951"/>
              <a:gd name="T5" fmla="*/ 461963 h 291"/>
              <a:gd name="T6" fmla="*/ 0 w 951"/>
              <a:gd name="T7" fmla="*/ 0 h 291"/>
              <a:gd name="T8" fmla="*/ 1509713 w 951"/>
              <a:gd name="T9" fmla="*/ 0 h 2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1" h="291">
                <a:moveTo>
                  <a:pt x="951" y="0"/>
                </a:moveTo>
                <a:lnTo>
                  <a:pt x="951" y="291"/>
                </a:lnTo>
                <a:lnTo>
                  <a:pt x="267" y="291"/>
                </a:lnTo>
                <a:lnTo>
                  <a:pt x="0" y="0"/>
                </a:lnTo>
                <a:lnTo>
                  <a:pt x="951" y="0"/>
                </a:lnTo>
                <a:close/>
              </a:path>
            </a:pathLst>
          </a:custGeom>
          <a:solidFill>
            <a:srgbClr val="DBAE4D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51"/>
          <p:cNvSpPr>
            <a:spLocks/>
          </p:cNvSpPr>
          <p:nvPr/>
        </p:nvSpPr>
        <p:spPr bwMode="auto">
          <a:xfrm>
            <a:off x="1908856" y="1673468"/>
            <a:ext cx="1766686" cy="2927240"/>
          </a:xfrm>
          <a:custGeom>
            <a:avLst/>
            <a:gdLst>
              <a:gd name="T0" fmla="*/ 752475 w 951"/>
              <a:gd name="T1" fmla="*/ 0 h 2215"/>
              <a:gd name="T2" fmla="*/ 379413 w 951"/>
              <a:gd name="T3" fmla="*/ 144463 h 2215"/>
              <a:gd name="T4" fmla="*/ 0 w 951"/>
              <a:gd name="T5" fmla="*/ 287338 h 2215"/>
              <a:gd name="T6" fmla="*/ 0 w 951"/>
              <a:gd name="T7" fmla="*/ 287338 h 2215"/>
              <a:gd name="T8" fmla="*/ 0 w 951"/>
              <a:gd name="T9" fmla="*/ 287338 h 2215"/>
              <a:gd name="T10" fmla="*/ 0 w 951"/>
              <a:gd name="T11" fmla="*/ 287338 h 2215"/>
              <a:gd name="T12" fmla="*/ 0 w 951"/>
              <a:gd name="T13" fmla="*/ 287338 h 2215"/>
              <a:gd name="T14" fmla="*/ 0 w 951"/>
              <a:gd name="T15" fmla="*/ 3516317 h 2215"/>
              <a:gd name="T16" fmla="*/ 1509713 w 951"/>
              <a:gd name="T17" fmla="*/ 3516317 h 2215"/>
              <a:gd name="T18" fmla="*/ 1509713 w 951"/>
              <a:gd name="T19" fmla="*/ 287338 h 2215"/>
              <a:gd name="T20" fmla="*/ 1509713 w 951"/>
              <a:gd name="T21" fmla="*/ 287338 h 2215"/>
              <a:gd name="T22" fmla="*/ 1131888 w 951"/>
              <a:gd name="T23" fmla="*/ 144463 h 2215"/>
              <a:gd name="T24" fmla="*/ 752475 w 951"/>
              <a:gd name="T25" fmla="*/ 0 h 221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951" h="2215">
                <a:moveTo>
                  <a:pt x="474" y="0"/>
                </a:moveTo>
                <a:lnTo>
                  <a:pt x="239" y="91"/>
                </a:lnTo>
                <a:lnTo>
                  <a:pt x="0" y="181"/>
                </a:lnTo>
                <a:lnTo>
                  <a:pt x="0" y="2215"/>
                </a:lnTo>
                <a:lnTo>
                  <a:pt x="951" y="2215"/>
                </a:lnTo>
                <a:lnTo>
                  <a:pt x="951" y="181"/>
                </a:lnTo>
                <a:lnTo>
                  <a:pt x="713" y="91"/>
                </a:lnTo>
                <a:lnTo>
                  <a:pt x="474" y="0"/>
                </a:lnTo>
                <a:close/>
              </a:path>
            </a:pathLst>
          </a:custGeom>
          <a:solidFill>
            <a:srgbClr val="E24956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Freeform 53"/>
          <p:cNvSpPr>
            <a:spLocks/>
          </p:cNvSpPr>
          <p:nvPr/>
        </p:nvSpPr>
        <p:spPr bwMode="auto">
          <a:xfrm>
            <a:off x="1908856" y="4600708"/>
            <a:ext cx="2758706" cy="384571"/>
          </a:xfrm>
          <a:custGeom>
            <a:avLst/>
            <a:gdLst>
              <a:gd name="T0" fmla="*/ 0 w 1485"/>
              <a:gd name="T1" fmla="*/ 0 h 291"/>
              <a:gd name="T2" fmla="*/ 1509713 w 1485"/>
              <a:gd name="T3" fmla="*/ 0 h 291"/>
              <a:gd name="T4" fmla="*/ 2357438 w 1485"/>
              <a:gd name="T5" fmla="*/ 461963 h 291"/>
              <a:gd name="T6" fmla="*/ 1279525 w 1485"/>
              <a:gd name="T7" fmla="*/ 461963 h 291"/>
              <a:gd name="T8" fmla="*/ 0 w 1485"/>
              <a:gd name="T9" fmla="*/ 0 h 2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85" h="291">
                <a:moveTo>
                  <a:pt x="0" y="0"/>
                </a:moveTo>
                <a:lnTo>
                  <a:pt x="951" y="0"/>
                </a:lnTo>
                <a:lnTo>
                  <a:pt x="1485" y="291"/>
                </a:lnTo>
                <a:lnTo>
                  <a:pt x="806" y="291"/>
                </a:lnTo>
                <a:lnTo>
                  <a:pt x="0" y="0"/>
                </a:lnTo>
                <a:close/>
              </a:path>
            </a:pathLst>
          </a:custGeom>
          <a:solidFill>
            <a:srgbClr val="BE3D48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70"/>
          <p:cNvSpPr>
            <a:spLocks noChangeArrowheads="1"/>
          </p:cNvSpPr>
          <p:nvPr/>
        </p:nvSpPr>
        <p:spPr bwMode="auto">
          <a:xfrm>
            <a:off x="2371426" y="2361904"/>
            <a:ext cx="66" cy="276999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2" name="Rectangle 76"/>
          <p:cNvSpPr>
            <a:spLocks noChangeArrowheads="1"/>
          </p:cNvSpPr>
          <p:nvPr/>
        </p:nvSpPr>
        <p:spPr bwMode="auto">
          <a:xfrm>
            <a:off x="2360280" y="3875175"/>
            <a:ext cx="1307831" cy="82068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5300" dirty="0">
                <a:solidFill>
                  <a:srgbClr val="FFFFFF"/>
                </a:solidFill>
                <a:latin typeface="Montserrat" panose="02000505000000020004" pitchFamily="2" charset="0"/>
              </a:rPr>
              <a:t>01</a:t>
            </a:r>
            <a:endParaRPr lang="en-US" altLang="en-US" sz="1800" dirty="0"/>
          </a:p>
        </p:txBody>
      </p:sp>
      <p:sp>
        <p:nvSpPr>
          <p:cNvPr id="53" name="Rectangle 77"/>
          <p:cNvSpPr>
            <a:spLocks noChangeArrowheads="1"/>
          </p:cNvSpPr>
          <p:nvPr/>
        </p:nvSpPr>
        <p:spPr bwMode="auto">
          <a:xfrm>
            <a:off x="4073093" y="3875175"/>
            <a:ext cx="1473168" cy="82068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5300" dirty="0">
                <a:solidFill>
                  <a:srgbClr val="FFFFFF"/>
                </a:solidFill>
                <a:latin typeface="Montserrat" panose="02000505000000020004" pitchFamily="2" charset="0"/>
              </a:rPr>
              <a:t>02</a:t>
            </a:r>
            <a:endParaRPr lang="en-US" altLang="en-US" sz="1800" dirty="0"/>
          </a:p>
        </p:txBody>
      </p:sp>
      <p:sp>
        <p:nvSpPr>
          <p:cNvPr id="54" name="Rectangle 78"/>
          <p:cNvSpPr>
            <a:spLocks noChangeArrowheads="1"/>
          </p:cNvSpPr>
          <p:nvPr/>
        </p:nvSpPr>
        <p:spPr bwMode="auto">
          <a:xfrm>
            <a:off x="5857746" y="3767468"/>
            <a:ext cx="1462022" cy="82068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5300" dirty="0">
                <a:solidFill>
                  <a:srgbClr val="FFFFFF"/>
                </a:solidFill>
                <a:latin typeface="Montserrat" panose="02000505000000020004" pitchFamily="2" charset="0"/>
              </a:rPr>
              <a:t>03</a:t>
            </a:r>
            <a:endParaRPr lang="en-US" altLang="en-US" sz="1800" dirty="0"/>
          </a:p>
        </p:txBody>
      </p:sp>
      <p:sp>
        <p:nvSpPr>
          <p:cNvPr id="56" name="Freeform 85"/>
          <p:cNvSpPr>
            <a:spLocks noEditPoints="1"/>
          </p:cNvSpPr>
          <p:nvPr/>
        </p:nvSpPr>
        <p:spPr bwMode="auto">
          <a:xfrm>
            <a:off x="2242293" y="1854443"/>
            <a:ext cx="1033866" cy="408360"/>
          </a:xfrm>
          <a:custGeom>
            <a:avLst/>
            <a:gdLst>
              <a:gd name="T0" fmla="*/ 2147483646 w 208"/>
              <a:gd name="T1" fmla="*/ 2147483646 h 108"/>
              <a:gd name="T2" fmla="*/ 2147483646 w 208"/>
              <a:gd name="T3" fmla="*/ 2147483646 h 108"/>
              <a:gd name="T4" fmla="*/ 2147483646 w 208"/>
              <a:gd name="T5" fmla="*/ 2147483646 h 108"/>
              <a:gd name="T6" fmla="*/ 2147483646 w 208"/>
              <a:gd name="T7" fmla="*/ 2147483646 h 108"/>
              <a:gd name="T8" fmla="*/ 2147483646 w 208"/>
              <a:gd name="T9" fmla="*/ 2147483646 h 108"/>
              <a:gd name="T10" fmla="*/ 2147483646 w 208"/>
              <a:gd name="T11" fmla="*/ 2147483646 h 108"/>
              <a:gd name="T12" fmla="*/ 2147483646 w 208"/>
              <a:gd name="T13" fmla="*/ 2147483646 h 108"/>
              <a:gd name="T14" fmla="*/ 2147483646 w 208"/>
              <a:gd name="T15" fmla="*/ 2147483646 h 108"/>
              <a:gd name="T16" fmla="*/ 2147483646 w 208"/>
              <a:gd name="T17" fmla="*/ 2147483646 h 108"/>
              <a:gd name="T18" fmla="*/ 2147483646 w 208"/>
              <a:gd name="T19" fmla="*/ 2147483646 h 108"/>
              <a:gd name="T20" fmla="*/ 2147483646 w 208"/>
              <a:gd name="T21" fmla="*/ 2147483646 h 108"/>
              <a:gd name="T22" fmla="*/ 2147483646 w 208"/>
              <a:gd name="T23" fmla="*/ 0 h 108"/>
              <a:gd name="T24" fmla="*/ 2147483646 w 208"/>
              <a:gd name="T25" fmla="*/ 2147483646 h 108"/>
              <a:gd name="T26" fmla="*/ 2147483646 w 208"/>
              <a:gd name="T27" fmla="*/ 2147483646 h 108"/>
              <a:gd name="T28" fmla="*/ 2147483646 w 208"/>
              <a:gd name="T29" fmla="*/ 2147483646 h 108"/>
              <a:gd name="T30" fmla="*/ 2147483646 w 208"/>
              <a:gd name="T31" fmla="*/ 2147483646 h 108"/>
              <a:gd name="T32" fmla="*/ 2147483646 w 208"/>
              <a:gd name="T33" fmla="*/ 2147483646 h 108"/>
              <a:gd name="T34" fmla="*/ 2147483646 w 208"/>
              <a:gd name="T35" fmla="*/ 2147483646 h 108"/>
              <a:gd name="T36" fmla="*/ 2147483646 w 208"/>
              <a:gd name="T37" fmla="*/ 2147483646 h 108"/>
              <a:gd name="T38" fmla="*/ 2147483646 w 208"/>
              <a:gd name="T39" fmla="*/ 2147483646 h 108"/>
              <a:gd name="T40" fmla="*/ 2147483646 w 208"/>
              <a:gd name="T41" fmla="*/ 2147483646 h 108"/>
              <a:gd name="T42" fmla="*/ 2147483646 w 208"/>
              <a:gd name="T43" fmla="*/ 2147483646 h 108"/>
              <a:gd name="T44" fmla="*/ 2147483646 w 208"/>
              <a:gd name="T45" fmla="*/ 2147483646 h 108"/>
              <a:gd name="T46" fmla="*/ 2147483646 w 208"/>
              <a:gd name="T47" fmla="*/ 2147483646 h 108"/>
              <a:gd name="T48" fmla="*/ 2147483646 w 208"/>
              <a:gd name="T49" fmla="*/ 2147483646 h 108"/>
              <a:gd name="T50" fmla="*/ 2147483646 w 208"/>
              <a:gd name="T51" fmla="*/ 2147483646 h 108"/>
              <a:gd name="T52" fmla="*/ 2147483646 w 208"/>
              <a:gd name="T53" fmla="*/ 2147483646 h 108"/>
              <a:gd name="T54" fmla="*/ 2147483646 w 208"/>
              <a:gd name="T55" fmla="*/ 2147483646 h 108"/>
              <a:gd name="T56" fmla="*/ 2147483646 w 208"/>
              <a:gd name="T57" fmla="*/ 2147483646 h 108"/>
              <a:gd name="T58" fmla="*/ 2147483646 w 208"/>
              <a:gd name="T59" fmla="*/ 2147483646 h 108"/>
              <a:gd name="T60" fmla="*/ 2147483646 w 208"/>
              <a:gd name="T61" fmla="*/ 2147483646 h 108"/>
              <a:gd name="T62" fmla="*/ 2147483646 w 208"/>
              <a:gd name="T63" fmla="*/ 2147483646 h 108"/>
              <a:gd name="T64" fmla="*/ 2147483646 w 208"/>
              <a:gd name="T65" fmla="*/ 2147483646 h 108"/>
              <a:gd name="T66" fmla="*/ 2147483646 w 208"/>
              <a:gd name="T67" fmla="*/ 2147483646 h 108"/>
              <a:gd name="T68" fmla="*/ 2147483646 w 208"/>
              <a:gd name="T69" fmla="*/ 2147483646 h 108"/>
              <a:gd name="T70" fmla="*/ 2147483646 w 208"/>
              <a:gd name="T71" fmla="*/ 2147483646 h 108"/>
              <a:gd name="T72" fmla="*/ 2147483646 w 208"/>
              <a:gd name="T73" fmla="*/ 2147483646 h 108"/>
              <a:gd name="T74" fmla="*/ 2147483646 w 208"/>
              <a:gd name="T75" fmla="*/ 2147483646 h 108"/>
              <a:gd name="T76" fmla="*/ 2147483646 w 208"/>
              <a:gd name="T77" fmla="*/ 2147483646 h 108"/>
              <a:gd name="T78" fmla="*/ 2147483646 w 208"/>
              <a:gd name="T79" fmla="*/ 2147483646 h 108"/>
              <a:gd name="T80" fmla="*/ 2147483646 w 208"/>
              <a:gd name="T81" fmla="*/ 2147483646 h 108"/>
              <a:gd name="T82" fmla="*/ 2147483646 w 208"/>
              <a:gd name="T83" fmla="*/ 2147483646 h 108"/>
              <a:gd name="T84" fmla="*/ 2147483646 w 208"/>
              <a:gd name="T85" fmla="*/ 2147483646 h 108"/>
              <a:gd name="T86" fmla="*/ 2147483646 w 208"/>
              <a:gd name="T87" fmla="*/ 2147483646 h 108"/>
              <a:gd name="T88" fmla="*/ 2147483646 w 208"/>
              <a:gd name="T89" fmla="*/ 2147483646 h 108"/>
              <a:gd name="T90" fmla="*/ 2147483646 w 208"/>
              <a:gd name="T91" fmla="*/ 2147483646 h 108"/>
              <a:gd name="T92" fmla="*/ 2147483646 w 208"/>
              <a:gd name="T93" fmla="*/ 2147483646 h 108"/>
              <a:gd name="T94" fmla="*/ 2147483646 w 208"/>
              <a:gd name="T95" fmla="*/ 2147483646 h 108"/>
              <a:gd name="T96" fmla="*/ 2147483646 w 208"/>
              <a:gd name="T97" fmla="*/ 2147483646 h 108"/>
              <a:gd name="T98" fmla="*/ 2147483646 w 208"/>
              <a:gd name="T99" fmla="*/ 2147483646 h 108"/>
              <a:gd name="T100" fmla="*/ 2147483646 w 208"/>
              <a:gd name="T101" fmla="*/ 2147483646 h 108"/>
              <a:gd name="T102" fmla="*/ 2147483646 w 208"/>
              <a:gd name="T103" fmla="*/ 2147483646 h 108"/>
              <a:gd name="T104" fmla="*/ 2147483646 w 208"/>
              <a:gd name="T105" fmla="*/ 2147483646 h 108"/>
              <a:gd name="T106" fmla="*/ 2147483646 w 208"/>
              <a:gd name="T107" fmla="*/ 2147483646 h 108"/>
              <a:gd name="T108" fmla="*/ 2147483646 w 208"/>
              <a:gd name="T109" fmla="*/ 2147483646 h 108"/>
              <a:gd name="T110" fmla="*/ 2147483646 w 208"/>
              <a:gd name="T111" fmla="*/ 2147483646 h 108"/>
              <a:gd name="T112" fmla="*/ 2147483646 w 208"/>
              <a:gd name="T113" fmla="*/ 2147483646 h 108"/>
              <a:gd name="T114" fmla="*/ 2147483646 w 208"/>
              <a:gd name="T115" fmla="*/ 2147483646 h 108"/>
              <a:gd name="T116" fmla="*/ 2147483646 w 208"/>
              <a:gd name="T117" fmla="*/ 2147483646 h 10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08" h="108">
                <a:moveTo>
                  <a:pt x="150" y="102"/>
                </a:moveTo>
                <a:cubicBezTo>
                  <a:pt x="147" y="103"/>
                  <a:pt x="144" y="104"/>
                  <a:pt x="140" y="105"/>
                </a:cubicBezTo>
                <a:cubicBezTo>
                  <a:pt x="130" y="108"/>
                  <a:pt x="119" y="108"/>
                  <a:pt x="106" y="108"/>
                </a:cubicBezTo>
                <a:cubicBezTo>
                  <a:pt x="93" y="108"/>
                  <a:pt x="82" y="108"/>
                  <a:pt x="72" y="105"/>
                </a:cubicBezTo>
                <a:cubicBezTo>
                  <a:pt x="69" y="104"/>
                  <a:pt x="66" y="103"/>
                  <a:pt x="63" y="102"/>
                </a:cubicBezTo>
                <a:cubicBezTo>
                  <a:pt x="54" y="98"/>
                  <a:pt x="54" y="91"/>
                  <a:pt x="59" y="86"/>
                </a:cubicBezTo>
                <a:cubicBezTo>
                  <a:pt x="64" y="80"/>
                  <a:pt x="71" y="76"/>
                  <a:pt x="78" y="73"/>
                </a:cubicBezTo>
                <a:cubicBezTo>
                  <a:pt x="81" y="71"/>
                  <a:pt x="84" y="70"/>
                  <a:pt x="88" y="69"/>
                </a:cubicBezTo>
                <a:cubicBezTo>
                  <a:pt x="94" y="67"/>
                  <a:pt x="95" y="60"/>
                  <a:pt x="91" y="56"/>
                </a:cubicBezTo>
                <a:cubicBezTo>
                  <a:pt x="82" y="47"/>
                  <a:pt x="78" y="36"/>
                  <a:pt x="79" y="24"/>
                </a:cubicBezTo>
                <a:cubicBezTo>
                  <a:pt x="79" y="11"/>
                  <a:pt x="87" y="4"/>
                  <a:pt x="99" y="1"/>
                </a:cubicBezTo>
                <a:cubicBezTo>
                  <a:pt x="101" y="0"/>
                  <a:pt x="104" y="0"/>
                  <a:pt x="106" y="0"/>
                </a:cubicBezTo>
                <a:cubicBezTo>
                  <a:pt x="109" y="0"/>
                  <a:pt x="111" y="0"/>
                  <a:pt x="114" y="1"/>
                </a:cubicBezTo>
                <a:cubicBezTo>
                  <a:pt x="126" y="4"/>
                  <a:pt x="133" y="11"/>
                  <a:pt x="134" y="24"/>
                </a:cubicBezTo>
                <a:cubicBezTo>
                  <a:pt x="134" y="36"/>
                  <a:pt x="131" y="47"/>
                  <a:pt x="122" y="56"/>
                </a:cubicBezTo>
                <a:cubicBezTo>
                  <a:pt x="117" y="60"/>
                  <a:pt x="119" y="67"/>
                  <a:pt x="125" y="69"/>
                </a:cubicBezTo>
                <a:cubicBezTo>
                  <a:pt x="128" y="70"/>
                  <a:pt x="131" y="71"/>
                  <a:pt x="134" y="73"/>
                </a:cubicBezTo>
                <a:cubicBezTo>
                  <a:pt x="141" y="76"/>
                  <a:pt x="148" y="80"/>
                  <a:pt x="154" y="86"/>
                </a:cubicBezTo>
                <a:cubicBezTo>
                  <a:pt x="157" y="89"/>
                  <a:pt x="159" y="98"/>
                  <a:pt x="150" y="102"/>
                </a:cubicBezTo>
                <a:close/>
                <a:moveTo>
                  <a:pt x="204" y="92"/>
                </a:moveTo>
                <a:cubicBezTo>
                  <a:pt x="200" y="89"/>
                  <a:pt x="196" y="86"/>
                  <a:pt x="191" y="84"/>
                </a:cubicBezTo>
                <a:cubicBezTo>
                  <a:pt x="189" y="83"/>
                  <a:pt x="186" y="82"/>
                  <a:pt x="184" y="81"/>
                </a:cubicBezTo>
                <a:cubicBezTo>
                  <a:pt x="180" y="79"/>
                  <a:pt x="179" y="75"/>
                  <a:pt x="182" y="72"/>
                </a:cubicBezTo>
                <a:cubicBezTo>
                  <a:pt x="188" y="66"/>
                  <a:pt x="190" y="58"/>
                  <a:pt x="190" y="50"/>
                </a:cubicBezTo>
                <a:cubicBezTo>
                  <a:pt x="190" y="41"/>
                  <a:pt x="184" y="36"/>
                  <a:pt x="176" y="34"/>
                </a:cubicBezTo>
                <a:cubicBezTo>
                  <a:pt x="174" y="33"/>
                  <a:pt x="173" y="33"/>
                  <a:pt x="171" y="33"/>
                </a:cubicBezTo>
                <a:cubicBezTo>
                  <a:pt x="169" y="33"/>
                  <a:pt x="168" y="33"/>
                  <a:pt x="166" y="34"/>
                </a:cubicBezTo>
                <a:cubicBezTo>
                  <a:pt x="158" y="36"/>
                  <a:pt x="152" y="41"/>
                  <a:pt x="152" y="50"/>
                </a:cubicBezTo>
                <a:cubicBezTo>
                  <a:pt x="152" y="58"/>
                  <a:pt x="154" y="66"/>
                  <a:pt x="160" y="72"/>
                </a:cubicBezTo>
                <a:cubicBezTo>
                  <a:pt x="163" y="75"/>
                  <a:pt x="162" y="79"/>
                  <a:pt x="158" y="81"/>
                </a:cubicBezTo>
                <a:cubicBezTo>
                  <a:pt x="158" y="81"/>
                  <a:pt x="158" y="81"/>
                  <a:pt x="158" y="81"/>
                </a:cubicBezTo>
                <a:cubicBezTo>
                  <a:pt x="158" y="82"/>
                  <a:pt x="159" y="82"/>
                  <a:pt x="159" y="83"/>
                </a:cubicBezTo>
                <a:cubicBezTo>
                  <a:pt x="162" y="86"/>
                  <a:pt x="164" y="90"/>
                  <a:pt x="163" y="95"/>
                </a:cubicBezTo>
                <a:cubicBezTo>
                  <a:pt x="162" y="99"/>
                  <a:pt x="159" y="103"/>
                  <a:pt x="154" y="105"/>
                </a:cubicBezTo>
                <a:cubicBezTo>
                  <a:pt x="153" y="106"/>
                  <a:pt x="152" y="106"/>
                  <a:pt x="151" y="107"/>
                </a:cubicBezTo>
                <a:cubicBezTo>
                  <a:pt x="157" y="108"/>
                  <a:pt x="163" y="108"/>
                  <a:pt x="171" y="108"/>
                </a:cubicBezTo>
                <a:cubicBezTo>
                  <a:pt x="180" y="108"/>
                  <a:pt x="188" y="108"/>
                  <a:pt x="195" y="106"/>
                </a:cubicBezTo>
                <a:cubicBezTo>
                  <a:pt x="197" y="106"/>
                  <a:pt x="199" y="105"/>
                  <a:pt x="201" y="104"/>
                </a:cubicBezTo>
                <a:cubicBezTo>
                  <a:pt x="208" y="101"/>
                  <a:pt x="206" y="95"/>
                  <a:pt x="204" y="92"/>
                </a:cubicBezTo>
                <a:close/>
                <a:moveTo>
                  <a:pt x="49" y="95"/>
                </a:moveTo>
                <a:cubicBezTo>
                  <a:pt x="48" y="91"/>
                  <a:pt x="49" y="86"/>
                  <a:pt x="53" y="83"/>
                </a:cubicBezTo>
                <a:cubicBezTo>
                  <a:pt x="54" y="82"/>
                  <a:pt x="56" y="80"/>
                  <a:pt x="57" y="79"/>
                </a:cubicBezTo>
                <a:cubicBezTo>
                  <a:pt x="56" y="79"/>
                  <a:pt x="55" y="78"/>
                  <a:pt x="54" y="78"/>
                </a:cubicBezTo>
                <a:cubicBezTo>
                  <a:pt x="50" y="76"/>
                  <a:pt x="49" y="71"/>
                  <a:pt x="52" y="68"/>
                </a:cubicBezTo>
                <a:cubicBezTo>
                  <a:pt x="59" y="61"/>
                  <a:pt x="62" y="53"/>
                  <a:pt x="61" y="43"/>
                </a:cubicBezTo>
                <a:cubicBezTo>
                  <a:pt x="61" y="33"/>
                  <a:pt x="55" y="28"/>
                  <a:pt x="46" y="26"/>
                </a:cubicBezTo>
                <a:cubicBezTo>
                  <a:pt x="44" y="25"/>
                  <a:pt x="42" y="25"/>
                  <a:pt x="40" y="25"/>
                </a:cubicBezTo>
                <a:cubicBezTo>
                  <a:pt x="38" y="25"/>
                  <a:pt x="36" y="25"/>
                  <a:pt x="34" y="26"/>
                </a:cubicBezTo>
                <a:cubicBezTo>
                  <a:pt x="25" y="28"/>
                  <a:pt x="19" y="33"/>
                  <a:pt x="19" y="43"/>
                </a:cubicBezTo>
                <a:cubicBezTo>
                  <a:pt x="19" y="53"/>
                  <a:pt x="21" y="61"/>
                  <a:pt x="28" y="68"/>
                </a:cubicBezTo>
                <a:cubicBezTo>
                  <a:pt x="32" y="71"/>
                  <a:pt x="30" y="76"/>
                  <a:pt x="26" y="78"/>
                </a:cubicBezTo>
                <a:cubicBezTo>
                  <a:pt x="23" y="79"/>
                  <a:pt x="21" y="80"/>
                  <a:pt x="18" y="81"/>
                </a:cubicBezTo>
                <a:cubicBezTo>
                  <a:pt x="13" y="84"/>
                  <a:pt x="8" y="86"/>
                  <a:pt x="4" y="91"/>
                </a:cubicBezTo>
                <a:cubicBezTo>
                  <a:pt x="0" y="95"/>
                  <a:pt x="0" y="100"/>
                  <a:pt x="7" y="103"/>
                </a:cubicBezTo>
                <a:cubicBezTo>
                  <a:pt x="9" y="105"/>
                  <a:pt x="11" y="105"/>
                  <a:pt x="14" y="106"/>
                </a:cubicBezTo>
                <a:cubicBezTo>
                  <a:pt x="22" y="108"/>
                  <a:pt x="30" y="108"/>
                  <a:pt x="40" y="108"/>
                </a:cubicBezTo>
                <a:cubicBezTo>
                  <a:pt x="48" y="108"/>
                  <a:pt x="55" y="108"/>
                  <a:pt x="62" y="107"/>
                </a:cubicBezTo>
                <a:cubicBezTo>
                  <a:pt x="60" y="106"/>
                  <a:pt x="59" y="106"/>
                  <a:pt x="58" y="105"/>
                </a:cubicBezTo>
                <a:cubicBezTo>
                  <a:pt x="53" y="103"/>
                  <a:pt x="49" y="99"/>
                  <a:pt x="49" y="9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" name="TextBox 93"/>
          <p:cNvSpPr txBox="1">
            <a:spLocks noChangeArrowheads="1"/>
          </p:cNvSpPr>
          <p:nvPr/>
        </p:nvSpPr>
        <p:spPr bwMode="auto">
          <a:xfrm>
            <a:off x="3862242" y="2212336"/>
            <a:ext cx="1610639" cy="1449628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66725">
              <a:spcBef>
                <a:spcPts val="450"/>
              </a:spcBef>
              <a:buNone/>
              <a:defRPr/>
            </a:pP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ter financial management </a:t>
            </a:r>
            <a:r>
              <a:rPr 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complete view of government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s and liabilities</a:t>
            </a:r>
            <a:endParaRPr lang="en-MY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93"/>
          <p:cNvSpPr txBox="1">
            <a:spLocks noChangeArrowheads="1"/>
          </p:cNvSpPr>
          <p:nvPr/>
        </p:nvSpPr>
        <p:spPr bwMode="auto">
          <a:xfrm>
            <a:off x="5652400" y="1974347"/>
            <a:ext cx="1532362" cy="1643527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  <a:defRPr/>
            </a:pP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owering Ministries and Agencies </a:t>
            </a:r>
            <a:r>
              <a:rPr 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 financially accountable  for their respective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s and expenditures</a:t>
            </a:r>
            <a:endParaRPr lang="ko-KR" altLang="en-US" sz="1400" dirty="0">
              <a:solidFill>
                <a:srgbClr val="002060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93"/>
          <p:cNvSpPr txBox="1">
            <a:spLocks noChangeArrowheads="1"/>
          </p:cNvSpPr>
          <p:nvPr/>
        </p:nvSpPr>
        <p:spPr bwMode="auto">
          <a:xfrm>
            <a:off x="2050042" y="2832470"/>
            <a:ext cx="1610638" cy="35390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600" dirty="0">
              <a:solidFill>
                <a:schemeClr val="bg1"/>
              </a:solidFill>
              <a:latin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40518" y="2443914"/>
            <a:ext cx="1784401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450"/>
              </a:spcBef>
            </a:pPr>
            <a:r>
              <a:rPr lang="en-US" altLang="en-US" sz="1400" dirty="0">
                <a:solidFill>
                  <a:srgbClr val="002060"/>
                </a:solidFill>
                <a:latin typeface="Arial" panose="020B0604020202020204" pitchFamily="34" charset="0"/>
              </a:rPr>
              <a:t>Adds depth to the </a:t>
            </a:r>
            <a:r>
              <a:rPr lang="en-US" altLang="en-US" sz="1400" b="1" dirty="0">
                <a:solidFill>
                  <a:srgbClr val="002060"/>
                </a:solidFill>
                <a:latin typeface="Arial" panose="020B0604020202020204" pitchFamily="34" charset="0"/>
              </a:rPr>
              <a:t>accountability </a:t>
            </a:r>
            <a:r>
              <a:rPr lang="en-US" altLang="en-US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and </a:t>
            </a:r>
            <a:r>
              <a:rPr lang="en-US" altLang="en-US" sz="1400" b="1" dirty="0">
                <a:solidFill>
                  <a:srgbClr val="002060"/>
                </a:solidFill>
                <a:latin typeface="Arial" panose="020B0604020202020204" pitchFamily="34" charset="0"/>
              </a:rPr>
              <a:t>transparency </a:t>
            </a:r>
            <a:r>
              <a:rPr lang="en-US" altLang="en-US" sz="1400" dirty="0">
                <a:solidFill>
                  <a:srgbClr val="002060"/>
                </a:solidFill>
                <a:latin typeface="Arial" panose="020B0604020202020204" pitchFamily="34" charset="0"/>
              </a:rPr>
              <a:t>of </a:t>
            </a:r>
            <a:r>
              <a:rPr lang="en-US" altLang="en-US" sz="1400" dirty="0" smtClean="0">
                <a:solidFill>
                  <a:srgbClr val="002060"/>
                </a:solidFill>
                <a:latin typeface="Arial" panose="020B0604020202020204" pitchFamily="34" charset="0"/>
              </a:rPr>
              <a:t>the management of </a:t>
            </a:r>
            <a:r>
              <a:rPr lang="en-US" altLang="en-US" sz="1400" dirty="0">
                <a:solidFill>
                  <a:srgbClr val="002060"/>
                </a:solidFill>
                <a:latin typeface="Arial" panose="020B0604020202020204" pitchFamily="34" charset="0"/>
              </a:rPr>
              <a:t>public sector resources</a:t>
            </a:r>
            <a:endParaRPr lang="en-MY" altLang="en-US" sz="14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64" name="Freeform 38"/>
          <p:cNvSpPr>
            <a:spLocks/>
          </p:cNvSpPr>
          <p:nvPr/>
        </p:nvSpPr>
        <p:spPr bwMode="auto">
          <a:xfrm>
            <a:off x="4279102" y="1500445"/>
            <a:ext cx="444500" cy="652462"/>
          </a:xfrm>
          <a:custGeom>
            <a:avLst/>
            <a:gdLst>
              <a:gd name="T0" fmla="*/ 444500 w 97"/>
              <a:gd name="T1" fmla="*/ 431912 h 142"/>
              <a:gd name="T2" fmla="*/ 293278 w 97"/>
              <a:gd name="T3" fmla="*/ 289473 h 142"/>
              <a:gd name="T4" fmla="*/ 210794 w 97"/>
              <a:gd name="T5" fmla="*/ 266499 h 142"/>
              <a:gd name="T6" fmla="*/ 105397 w 97"/>
              <a:gd name="T7" fmla="*/ 211361 h 142"/>
              <a:gd name="T8" fmla="*/ 219959 w 97"/>
              <a:gd name="T9" fmla="*/ 165413 h 142"/>
              <a:gd name="T10" fmla="*/ 334521 w 97"/>
              <a:gd name="T11" fmla="*/ 206766 h 142"/>
              <a:gd name="T12" fmla="*/ 389510 w 97"/>
              <a:gd name="T13" fmla="*/ 202172 h 142"/>
              <a:gd name="T14" fmla="*/ 412423 w 97"/>
              <a:gd name="T15" fmla="*/ 160818 h 142"/>
              <a:gd name="T16" fmla="*/ 270366 w 97"/>
              <a:gd name="T17" fmla="*/ 78112 h 142"/>
              <a:gd name="T18" fmla="*/ 270366 w 97"/>
              <a:gd name="T19" fmla="*/ 22974 h 142"/>
              <a:gd name="T20" fmla="*/ 242871 w 97"/>
              <a:gd name="T21" fmla="*/ 0 h 142"/>
              <a:gd name="T22" fmla="*/ 206211 w 97"/>
              <a:gd name="T23" fmla="*/ 0 h 142"/>
              <a:gd name="T24" fmla="*/ 178716 w 97"/>
              <a:gd name="T25" fmla="*/ 22974 h 142"/>
              <a:gd name="T26" fmla="*/ 178716 w 97"/>
              <a:gd name="T27" fmla="*/ 73517 h 142"/>
              <a:gd name="T28" fmla="*/ 0 w 97"/>
              <a:gd name="T29" fmla="*/ 215956 h 142"/>
              <a:gd name="T30" fmla="*/ 169552 w 97"/>
              <a:gd name="T31" fmla="*/ 358395 h 142"/>
              <a:gd name="T32" fmla="*/ 261201 w 97"/>
              <a:gd name="T33" fmla="*/ 376774 h 142"/>
              <a:gd name="T34" fmla="*/ 339103 w 97"/>
              <a:gd name="T35" fmla="*/ 436507 h 142"/>
              <a:gd name="T36" fmla="*/ 229124 w 97"/>
              <a:gd name="T37" fmla="*/ 487050 h 142"/>
              <a:gd name="T38" fmla="*/ 91649 w 97"/>
              <a:gd name="T39" fmla="*/ 441102 h 142"/>
              <a:gd name="T40" fmla="*/ 32077 w 97"/>
              <a:gd name="T41" fmla="*/ 450291 h 142"/>
              <a:gd name="T42" fmla="*/ 18330 w 97"/>
              <a:gd name="T43" fmla="*/ 491645 h 142"/>
              <a:gd name="T44" fmla="*/ 178716 w 97"/>
              <a:gd name="T45" fmla="*/ 578946 h 142"/>
              <a:gd name="T46" fmla="*/ 178716 w 97"/>
              <a:gd name="T47" fmla="*/ 629489 h 142"/>
              <a:gd name="T48" fmla="*/ 206211 w 97"/>
              <a:gd name="T49" fmla="*/ 652463 h 142"/>
              <a:gd name="T50" fmla="*/ 242871 w 97"/>
              <a:gd name="T51" fmla="*/ 652463 h 142"/>
              <a:gd name="T52" fmla="*/ 270366 w 97"/>
              <a:gd name="T53" fmla="*/ 629489 h 142"/>
              <a:gd name="T54" fmla="*/ 270366 w 97"/>
              <a:gd name="T55" fmla="*/ 578946 h 142"/>
              <a:gd name="T56" fmla="*/ 444500 w 97"/>
              <a:gd name="T57" fmla="*/ 431912 h 14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97" h="142">
                <a:moveTo>
                  <a:pt x="97" y="94"/>
                </a:moveTo>
                <a:cubicBezTo>
                  <a:pt x="97" y="80"/>
                  <a:pt x="86" y="68"/>
                  <a:pt x="64" y="63"/>
                </a:cubicBezTo>
                <a:cubicBezTo>
                  <a:pt x="61" y="62"/>
                  <a:pt x="48" y="59"/>
                  <a:pt x="46" y="58"/>
                </a:cubicBezTo>
                <a:cubicBezTo>
                  <a:pt x="28" y="54"/>
                  <a:pt x="23" y="51"/>
                  <a:pt x="23" y="46"/>
                </a:cubicBezTo>
                <a:cubicBezTo>
                  <a:pt x="23" y="41"/>
                  <a:pt x="30" y="36"/>
                  <a:pt x="48" y="36"/>
                </a:cubicBezTo>
                <a:cubicBezTo>
                  <a:pt x="60" y="36"/>
                  <a:pt x="73" y="45"/>
                  <a:pt x="73" y="45"/>
                </a:cubicBezTo>
                <a:cubicBezTo>
                  <a:pt x="78" y="48"/>
                  <a:pt x="81" y="48"/>
                  <a:pt x="85" y="44"/>
                </a:cubicBezTo>
                <a:cubicBezTo>
                  <a:pt x="85" y="44"/>
                  <a:pt x="90" y="40"/>
                  <a:pt x="90" y="35"/>
                </a:cubicBezTo>
                <a:cubicBezTo>
                  <a:pt x="90" y="29"/>
                  <a:pt x="75" y="20"/>
                  <a:pt x="59" y="17"/>
                </a:cubicBezTo>
                <a:cubicBezTo>
                  <a:pt x="59" y="5"/>
                  <a:pt x="59" y="5"/>
                  <a:pt x="59" y="5"/>
                </a:cubicBezTo>
                <a:cubicBezTo>
                  <a:pt x="59" y="2"/>
                  <a:pt x="56" y="0"/>
                  <a:pt x="53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2" y="0"/>
                  <a:pt x="39" y="2"/>
                  <a:pt x="39" y="5"/>
                </a:cubicBezTo>
                <a:cubicBezTo>
                  <a:pt x="39" y="16"/>
                  <a:pt x="39" y="16"/>
                  <a:pt x="39" y="16"/>
                </a:cubicBezTo>
                <a:cubicBezTo>
                  <a:pt x="14" y="18"/>
                  <a:pt x="0" y="31"/>
                  <a:pt x="0" y="47"/>
                </a:cubicBezTo>
                <a:cubicBezTo>
                  <a:pt x="0" y="65"/>
                  <a:pt x="18" y="73"/>
                  <a:pt x="37" y="78"/>
                </a:cubicBezTo>
                <a:cubicBezTo>
                  <a:pt x="39" y="78"/>
                  <a:pt x="55" y="82"/>
                  <a:pt x="57" y="82"/>
                </a:cubicBezTo>
                <a:cubicBezTo>
                  <a:pt x="71" y="86"/>
                  <a:pt x="74" y="91"/>
                  <a:pt x="74" y="95"/>
                </a:cubicBezTo>
                <a:cubicBezTo>
                  <a:pt x="74" y="101"/>
                  <a:pt x="68" y="106"/>
                  <a:pt x="50" y="106"/>
                </a:cubicBezTo>
                <a:cubicBezTo>
                  <a:pt x="37" y="106"/>
                  <a:pt x="20" y="96"/>
                  <a:pt x="20" y="96"/>
                </a:cubicBezTo>
                <a:cubicBezTo>
                  <a:pt x="16" y="93"/>
                  <a:pt x="11" y="94"/>
                  <a:pt x="7" y="98"/>
                </a:cubicBezTo>
                <a:cubicBezTo>
                  <a:pt x="7" y="98"/>
                  <a:pt x="4" y="102"/>
                  <a:pt x="4" y="107"/>
                </a:cubicBezTo>
                <a:cubicBezTo>
                  <a:pt x="4" y="113"/>
                  <a:pt x="22" y="122"/>
                  <a:pt x="39" y="126"/>
                </a:cubicBezTo>
                <a:cubicBezTo>
                  <a:pt x="39" y="137"/>
                  <a:pt x="39" y="137"/>
                  <a:pt x="39" y="137"/>
                </a:cubicBezTo>
                <a:cubicBezTo>
                  <a:pt x="39" y="140"/>
                  <a:pt x="42" y="142"/>
                  <a:pt x="45" y="142"/>
                </a:cubicBezTo>
                <a:cubicBezTo>
                  <a:pt x="53" y="142"/>
                  <a:pt x="53" y="142"/>
                  <a:pt x="53" y="142"/>
                </a:cubicBezTo>
                <a:cubicBezTo>
                  <a:pt x="56" y="142"/>
                  <a:pt x="59" y="140"/>
                  <a:pt x="59" y="137"/>
                </a:cubicBezTo>
                <a:cubicBezTo>
                  <a:pt x="59" y="126"/>
                  <a:pt x="59" y="126"/>
                  <a:pt x="59" y="126"/>
                </a:cubicBezTo>
                <a:cubicBezTo>
                  <a:pt x="86" y="123"/>
                  <a:pt x="97" y="109"/>
                  <a:pt x="97" y="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" name="Freeform 29"/>
          <p:cNvSpPr>
            <a:spLocks noEditPoints="1"/>
          </p:cNvSpPr>
          <p:nvPr/>
        </p:nvSpPr>
        <p:spPr bwMode="auto">
          <a:xfrm>
            <a:off x="5932666" y="1417755"/>
            <a:ext cx="880583" cy="538865"/>
          </a:xfrm>
          <a:custGeom>
            <a:avLst/>
            <a:gdLst>
              <a:gd name="T0" fmla="*/ 2147483646 w 210"/>
              <a:gd name="T1" fmla="*/ 2147483646 h 140"/>
              <a:gd name="T2" fmla="*/ 2147483646 w 210"/>
              <a:gd name="T3" fmla="*/ 2147483646 h 140"/>
              <a:gd name="T4" fmla="*/ 2147483646 w 210"/>
              <a:gd name="T5" fmla="*/ 2147483646 h 140"/>
              <a:gd name="T6" fmla="*/ 2147483646 w 210"/>
              <a:gd name="T7" fmla="*/ 2147483646 h 140"/>
              <a:gd name="T8" fmla="*/ 2147483646 w 210"/>
              <a:gd name="T9" fmla="*/ 2147483646 h 140"/>
              <a:gd name="T10" fmla="*/ 2147483646 w 210"/>
              <a:gd name="T11" fmla="*/ 2147483646 h 140"/>
              <a:gd name="T12" fmla="*/ 2147483646 w 210"/>
              <a:gd name="T13" fmla="*/ 2147483646 h 140"/>
              <a:gd name="T14" fmla="*/ 2147483646 w 210"/>
              <a:gd name="T15" fmla="*/ 0 h 140"/>
              <a:gd name="T16" fmla="*/ 2147483646 w 210"/>
              <a:gd name="T17" fmla="*/ 2147483646 h 140"/>
              <a:gd name="T18" fmla="*/ 2147483646 w 210"/>
              <a:gd name="T19" fmla="*/ 2147483646 h 140"/>
              <a:gd name="T20" fmla="*/ 2147483646 w 210"/>
              <a:gd name="T21" fmla="*/ 2147483646 h 140"/>
              <a:gd name="T22" fmla="*/ 0 w 210"/>
              <a:gd name="T23" fmla="*/ 2147483646 h 140"/>
              <a:gd name="T24" fmla="*/ 2147483646 w 210"/>
              <a:gd name="T25" fmla="*/ 2147483646 h 140"/>
              <a:gd name="T26" fmla="*/ 2147483646 w 210"/>
              <a:gd name="T27" fmla="*/ 2147483646 h 140"/>
              <a:gd name="T28" fmla="*/ 2147483646 w 210"/>
              <a:gd name="T29" fmla="*/ 2147483646 h 140"/>
              <a:gd name="T30" fmla="*/ 2147483646 w 210"/>
              <a:gd name="T31" fmla="*/ 2147483646 h 140"/>
              <a:gd name="T32" fmla="*/ 2147483646 w 210"/>
              <a:gd name="T33" fmla="*/ 2147483646 h 140"/>
              <a:gd name="T34" fmla="*/ 2147483646 w 210"/>
              <a:gd name="T35" fmla="*/ 2147483646 h 140"/>
              <a:gd name="T36" fmla="*/ 2147483646 w 210"/>
              <a:gd name="T37" fmla="*/ 2147483646 h 140"/>
              <a:gd name="T38" fmla="*/ 2147483646 w 210"/>
              <a:gd name="T39" fmla="*/ 2147483646 h 140"/>
              <a:gd name="T40" fmla="*/ 2147483646 w 210"/>
              <a:gd name="T41" fmla="*/ 2147483646 h 140"/>
              <a:gd name="T42" fmla="*/ 2147483646 w 210"/>
              <a:gd name="T43" fmla="*/ 2147483646 h 140"/>
              <a:gd name="T44" fmla="*/ 2147483646 w 210"/>
              <a:gd name="T45" fmla="*/ 2147483646 h 140"/>
              <a:gd name="T46" fmla="*/ 2147483646 w 210"/>
              <a:gd name="T47" fmla="*/ 2147483646 h 140"/>
              <a:gd name="T48" fmla="*/ 2147483646 w 210"/>
              <a:gd name="T49" fmla="*/ 2147483646 h 140"/>
              <a:gd name="T50" fmla="*/ 2147483646 w 210"/>
              <a:gd name="T51" fmla="*/ 2147483646 h 140"/>
              <a:gd name="T52" fmla="*/ 2147483646 w 210"/>
              <a:gd name="T53" fmla="*/ 2147483646 h 140"/>
              <a:gd name="T54" fmla="*/ 2147483646 w 210"/>
              <a:gd name="T55" fmla="*/ 2147483646 h 140"/>
              <a:gd name="T56" fmla="*/ 2147483646 w 210"/>
              <a:gd name="T57" fmla="*/ 2147483646 h 140"/>
              <a:gd name="T58" fmla="*/ 2147483646 w 210"/>
              <a:gd name="T59" fmla="*/ 2147483646 h 140"/>
              <a:gd name="T60" fmla="*/ 2147483646 w 210"/>
              <a:gd name="T61" fmla="*/ 2147483646 h 140"/>
              <a:gd name="T62" fmla="*/ 2147483646 w 210"/>
              <a:gd name="T63" fmla="*/ 2147483646 h 140"/>
              <a:gd name="T64" fmla="*/ 2147483646 w 210"/>
              <a:gd name="T65" fmla="*/ 2147483646 h 140"/>
              <a:gd name="T66" fmla="*/ 2147483646 w 210"/>
              <a:gd name="T67" fmla="*/ 2147483646 h 140"/>
              <a:gd name="T68" fmla="*/ 2147483646 w 210"/>
              <a:gd name="T69" fmla="*/ 2147483646 h 140"/>
              <a:gd name="T70" fmla="*/ 2147483646 w 210"/>
              <a:gd name="T71" fmla="*/ 2147483646 h 140"/>
              <a:gd name="T72" fmla="*/ 2147483646 w 210"/>
              <a:gd name="T73" fmla="*/ 2147483646 h 140"/>
              <a:gd name="T74" fmla="*/ 2147483646 w 210"/>
              <a:gd name="T75" fmla="*/ 2147483646 h 140"/>
              <a:gd name="T76" fmla="*/ 2147483646 w 210"/>
              <a:gd name="T77" fmla="*/ 2147483646 h 140"/>
              <a:gd name="T78" fmla="*/ 2147483646 w 210"/>
              <a:gd name="T79" fmla="*/ 2147483646 h 140"/>
              <a:gd name="T80" fmla="*/ 2147483646 w 210"/>
              <a:gd name="T81" fmla="*/ 2147483646 h 140"/>
              <a:gd name="T82" fmla="*/ 2147483646 w 210"/>
              <a:gd name="T83" fmla="*/ 2147483646 h 140"/>
              <a:gd name="T84" fmla="*/ 2147483646 w 210"/>
              <a:gd name="T85" fmla="*/ 2147483646 h 140"/>
              <a:gd name="T86" fmla="*/ 2147483646 w 210"/>
              <a:gd name="T87" fmla="*/ 2147483646 h 140"/>
              <a:gd name="T88" fmla="*/ 2147483646 w 210"/>
              <a:gd name="T89" fmla="*/ 2147483646 h 140"/>
              <a:gd name="T90" fmla="*/ 2147483646 w 210"/>
              <a:gd name="T91" fmla="*/ 2147483646 h 14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10" h="140">
                <a:moveTo>
                  <a:pt x="167" y="13"/>
                </a:moveTo>
                <a:cubicBezTo>
                  <a:pt x="187" y="62"/>
                  <a:pt x="187" y="62"/>
                  <a:pt x="187" y="62"/>
                </a:cubicBezTo>
                <a:cubicBezTo>
                  <a:pt x="162" y="72"/>
                  <a:pt x="162" y="72"/>
                  <a:pt x="162" y="72"/>
                </a:cubicBezTo>
                <a:cubicBezTo>
                  <a:pt x="150" y="61"/>
                  <a:pt x="110" y="27"/>
                  <a:pt x="107" y="27"/>
                </a:cubicBezTo>
                <a:cubicBezTo>
                  <a:pt x="104" y="27"/>
                  <a:pt x="92" y="31"/>
                  <a:pt x="90" y="32"/>
                </a:cubicBezTo>
                <a:cubicBezTo>
                  <a:pt x="90" y="32"/>
                  <a:pt x="83" y="34"/>
                  <a:pt x="76" y="34"/>
                </a:cubicBezTo>
                <a:cubicBezTo>
                  <a:pt x="73" y="34"/>
                  <a:pt x="71" y="33"/>
                  <a:pt x="70" y="32"/>
                </a:cubicBezTo>
                <a:cubicBezTo>
                  <a:pt x="68" y="31"/>
                  <a:pt x="67" y="30"/>
                  <a:pt x="67" y="29"/>
                </a:cubicBezTo>
                <a:cubicBezTo>
                  <a:pt x="67" y="26"/>
                  <a:pt x="70" y="24"/>
                  <a:pt x="72" y="23"/>
                </a:cubicBezTo>
                <a:cubicBezTo>
                  <a:pt x="82" y="18"/>
                  <a:pt x="110" y="7"/>
                  <a:pt x="113" y="7"/>
                </a:cubicBezTo>
                <a:cubicBezTo>
                  <a:pt x="113" y="7"/>
                  <a:pt x="113" y="7"/>
                  <a:pt x="113" y="7"/>
                </a:cubicBezTo>
                <a:cubicBezTo>
                  <a:pt x="120" y="7"/>
                  <a:pt x="162" y="13"/>
                  <a:pt x="167" y="13"/>
                </a:cubicBezTo>
                <a:close/>
                <a:moveTo>
                  <a:pt x="185" y="0"/>
                </a:moveTo>
                <a:cubicBezTo>
                  <a:pt x="184" y="0"/>
                  <a:pt x="183" y="0"/>
                  <a:pt x="183" y="0"/>
                </a:cubicBezTo>
                <a:cubicBezTo>
                  <a:pt x="175" y="3"/>
                  <a:pt x="175" y="3"/>
                  <a:pt x="175" y="3"/>
                </a:cubicBezTo>
                <a:cubicBezTo>
                  <a:pt x="173" y="4"/>
                  <a:pt x="172" y="5"/>
                  <a:pt x="172" y="6"/>
                </a:cubicBezTo>
                <a:cubicBezTo>
                  <a:pt x="171" y="7"/>
                  <a:pt x="171" y="9"/>
                  <a:pt x="171" y="10"/>
                </a:cubicBezTo>
                <a:cubicBezTo>
                  <a:pt x="192" y="61"/>
                  <a:pt x="192" y="61"/>
                  <a:pt x="192" y="61"/>
                </a:cubicBezTo>
                <a:cubicBezTo>
                  <a:pt x="193" y="64"/>
                  <a:pt x="196" y="66"/>
                  <a:pt x="199" y="64"/>
                </a:cubicBezTo>
                <a:cubicBezTo>
                  <a:pt x="207" y="61"/>
                  <a:pt x="207" y="61"/>
                  <a:pt x="207" y="61"/>
                </a:cubicBezTo>
                <a:cubicBezTo>
                  <a:pt x="208" y="61"/>
                  <a:pt x="209" y="60"/>
                  <a:pt x="210" y="58"/>
                </a:cubicBezTo>
                <a:cubicBezTo>
                  <a:pt x="210" y="57"/>
                  <a:pt x="210" y="56"/>
                  <a:pt x="210" y="54"/>
                </a:cubicBezTo>
                <a:cubicBezTo>
                  <a:pt x="190" y="3"/>
                  <a:pt x="190" y="3"/>
                  <a:pt x="190" y="3"/>
                </a:cubicBezTo>
                <a:cubicBezTo>
                  <a:pt x="189" y="1"/>
                  <a:pt x="187" y="0"/>
                  <a:pt x="185" y="0"/>
                </a:cubicBezTo>
                <a:close/>
                <a:moveTo>
                  <a:pt x="0" y="70"/>
                </a:moveTo>
                <a:cubicBezTo>
                  <a:pt x="0" y="71"/>
                  <a:pt x="1" y="73"/>
                  <a:pt x="2" y="74"/>
                </a:cubicBezTo>
                <a:cubicBezTo>
                  <a:pt x="2" y="75"/>
                  <a:pt x="4" y="75"/>
                  <a:pt x="5" y="76"/>
                </a:cubicBezTo>
                <a:cubicBezTo>
                  <a:pt x="14" y="76"/>
                  <a:pt x="14" y="76"/>
                  <a:pt x="14" y="76"/>
                </a:cubicBezTo>
                <a:cubicBezTo>
                  <a:pt x="17" y="76"/>
                  <a:pt x="20" y="74"/>
                  <a:pt x="20" y="71"/>
                </a:cubicBezTo>
                <a:cubicBezTo>
                  <a:pt x="24" y="14"/>
                  <a:pt x="24" y="14"/>
                  <a:pt x="24" y="14"/>
                </a:cubicBezTo>
                <a:cubicBezTo>
                  <a:pt x="24" y="12"/>
                  <a:pt x="24" y="11"/>
                  <a:pt x="23" y="10"/>
                </a:cubicBezTo>
                <a:cubicBezTo>
                  <a:pt x="22" y="9"/>
                  <a:pt x="20" y="8"/>
                  <a:pt x="19" y="8"/>
                </a:cubicBezTo>
                <a:cubicBezTo>
                  <a:pt x="10" y="7"/>
                  <a:pt x="10" y="7"/>
                  <a:pt x="10" y="7"/>
                </a:cubicBezTo>
                <a:cubicBezTo>
                  <a:pt x="10" y="7"/>
                  <a:pt x="10" y="7"/>
                  <a:pt x="10" y="7"/>
                </a:cubicBezTo>
                <a:cubicBezTo>
                  <a:pt x="7" y="7"/>
                  <a:pt x="5" y="9"/>
                  <a:pt x="5" y="12"/>
                </a:cubicBezTo>
                <a:lnTo>
                  <a:pt x="0" y="70"/>
                </a:lnTo>
                <a:close/>
                <a:moveTo>
                  <a:pt x="87" y="121"/>
                </a:moveTo>
                <a:cubicBezTo>
                  <a:pt x="86" y="119"/>
                  <a:pt x="85" y="117"/>
                  <a:pt x="83" y="116"/>
                </a:cubicBezTo>
                <a:cubicBezTo>
                  <a:pt x="80" y="113"/>
                  <a:pt x="76" y="113"/>
                  <a:pt x="73" y="117"/>
                </a:cubicBezTo>
                <a:cubicBezTo>
                  <a:pt x="69" y="122"/>
                  <a:pt x="69" y="122"/>
                  <a:pt x="69" y="122"/>
                </a:cubicBezTo>
                <a:cubicBezTo>
                  <a:pt x="68" y="123"/>
                  <a:pt x="68" y="123"/>
                  <a:pt x="68" y="123"/>
                </a:cubicBezTo>
                <a:cubicBezTo>
                  <a:pt x="65" y="127"/>
                  <a:pt x="65" y="127"/>
                  <a:pt x="65" y="127"/>
                </a:cubicBezTo>
                <a:cubicBezTo>
                  <a:pt x="60" y="132"/>
                  <a:pt x="65" y="137"/>
                  <a:pt x="66" y="138"/>
                </a:cubicBezTo>
                <a:cubicBezTo>
                  <a:pt x="68" y="139"/>
                  <a:pt x="69" y="140"/>
                  <a:pt x="71" y="140"/>
                </a:cubicBezTo>
                <a:cubicBezTo>
                  <a:pt x="73" y="140"/>
                  <a:pt x="75" y="139"/>
                  <a:pt x="77" y="137"/>
                </a:cubicBezTo>
                <a:cubicBezTo>
                  <a:pt x="83" y="130"/>
                  <a:pt x="83" y="130"/>
                  <a:pt x="83" y="130"/>
                </a:cubicBezTo>
                <a:cubicBezTo>
                  <a:pt x="83" y="130"/>
                  <a:pt x="83" y="130"/>
                  <a:pt x="83" y="130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6" y="125"/>
                  <a:pt x="87" y="123"/>
                  <a:pt x="87" y="121"/>
                </a:cubicBezTo>
                <a:close/>
                <a:moveTo>
                  <a:pt x="46" y="118"/>
                </a:moveTo>
                <a:cubicBezTo>
                  <a:pt x="43" y="121"/>
                  <a:pt x="44" y="124"/>
                  <a:pt x="48" y="128"/>
                </a:cubicBezTo>
                <a:cubicBezTo>
                  <a:pt x="52" y="131"/>
                  <a:pt x="55" y="130"/>
                  <a:pt x="59" y="126"/>
                </a:cubicBezTo>
                <a:cubicBezTo>
                  <a:pt x="69" y="114"/>
                  <a:pt x="69" y="114"/>
                  <a:pt x="69" y="114"/>
                </a:cubicBezTo>
                <a:cubicBezTo>
                  <a:pt x="73" y="109"/>
                  <a:pt x="69" y="104"/>
                  <a:pt x="67" y="103"/>
                </a:cubicBezTo>
                <a:cubicBezTo>
                  <a:pt x="64" y="100"/>
                  <a:pt x="60" y="101"/>
                  <a:pt x="57" y="105"/>
                </a:cubicBezTo>
                <a:cubicBezTo>
                  <a:pt x="51" y="111"/>
                  <a:pt x="51" y="111"/>
                  <a:pt x="51" y="111"/>
                </a:cubicBezTo>
                <a:cubicBezTo>
                  <a:pt x="51" y="111"/>
                  <a:pt x="51" y="111"/>
                  <a:pt x="51" y="111"/>
                </a:cubicBezTo>
                <a:cubicBezTo>
                  <a:pt x="51" y="112"/>
                  <a:pt x="51" y="112"/>
                  <a:pt x="51" y="112"/>
                </a:cubicBezTo>
                <a:lnTo>
                  <a:pt x="46" y="118"/>
                </a:lnTo>
                <a:close/>
                <a:moveTo>
                  <a:pt x="31" y="103"/>
                </a:moveTo>
                <a:cubicBezTo>
                  <a:pt x="30" y="105"/>
                  <a:pt x="29" y="107"/>
                  <a:pt x="29" y="109"/>
                </a:cubicBezTo>
                <a:cubicBezTo>
                  <a:pt x="30" y="111"/>
                  <a:pt x="31" y="113"/>
                  <a:pt x="33" y="114"/>
                </a:cubicBezTo>
                <a:cubicBezTo>
                  <a:pt x="36" y="117"/>
                  <a:pt x="40" y="117"/>
                  <a:pt x="43" y="113"/>
                </a:cubicBezTo>
                <a:cubicBezTo>
                  <a:pt x="54" y="100"/>
                  <a:pt x="54" y="100"/>
                  <a:pt x="54" y="100"/>
                </a:cubicBezTo>
                <a:cubicBezTo>
                  <a:pt x="56" y="98"/>
                  <a:pt x="56" y="96"/>
                  <a:pt x="56" y="94"/>
                </a:cubicBezTo>
                <a:cubicBezTo>
                  <a:pt x="56" y="92"/>
                  <a:pt x="55" y="90"/>
                  <a:pt x="53" y="89"/>
                </a:cubicBezTo>
                <a:cubicBezTo>
                  <a:pt x="49" y="86"/>
                  <a:pt x="45" y="86"/>
                  <a:pt x="42" y="90"/>
                </a:cubicBezTo>
                <a:cubicBezTo>
                  <a:pt x="37" y="97"/>
                  <a:pt x="37" y="97"/>
                  <a:pt x="37" y="97"/>
                </a:cubicBezTo>
                <a:cubicBezTo>
                  <a:pt x="37" y="97"/>
                  <a:pt x="37" y="97"/>
                  <a:pt x="37" y="97"/>
                </a:cubicBezTo>
                <a:cubicBezTo>
                  <a:pt x="36" y="97"/>
                  <a:pt x="36" y="97"/>
                  <a:pt x="36" y="97"/>
                </a:cubicBezTo>
                <a:lnTo>
                  <a:pt x="31" y="103"/>
                </a:lnTo>
                <a:close/>
                <a:moveTo>
                  <a:pt x="29" y="98"/>
                </a:moveTo>
                <a:cubicBezTo>
                  <a:pt x="40" y="85"/>
                  <a:pt x="40" y="85"/>
                  <a:pt x="40" y="85"/>
                </a:cubicBezTo>
                <a:cubicBezTo>
                  <a:pt x="44" y="80"/>
                  <a:pt x="40" y="75"/>
                  <a:pt x="38" y="74"/>
                </a:cubicBezTo>
                <a:cubicBezTo>
                  <a:pt x="35" y="71"/>
                  <a:pt x="31" y="72"/>
                  <a:pt x="28" y="76"/>
                </a:cubicBezTo>
                <a:cubicBezTo>
                  <a:pt x="24" y="80"/>
                  <a:pt x="24" y="80"/>
                  <a:pt x="24" y="80"/>
                </a:cubicBezTo>
                <a:cubicBezTo>
                  <a:pt x="24" y="80"/>
                  <a:pt x="24" y="80"/>
                  <a:pt x="24" y="80"/>
                </a:cubicBezTo>
                <a:cubicBezTo>
                  <a:pt x="24" y="81"/>
                  <a:pt x="24" y="81"/>
                  <a:pt x="24" y="81"/>
                </a:cubicBezTo>
                <a:cubicBezTo>
                  <a:pt x="19" y="87"/>
                  <a:pt x="19" y="87"/>
                  <a:pt x="19" y="87"/>
                </a:cubicBezTo>
                <a:cubicBezTo>
                  <a:pt x="17" y="89"/>
                  <a:pt x="16" y="91"/>
                  <a:pt x="16" y="93"/>
                </a:cubicBezTo>
                <a:cubicBezTo>
                  <a:pt x="16" y="95"/>
                  <a:pt x="18" y="96"/>
                  <a:pt x="19" y="97"/>
                </a:cubicBezTo>
                <a:cubicBezTo>
                  <a:pt x="20" y="99"/>
                  <a:pt x="22" y="100"/>
                  <a:pt x="25" y="100"/>
                </a:cubicBezTo>
                <a:cubicBezTo>
                  <a:pt x="26" y="100"/>
                  <a:pt x="27" y="100"/>
                  <a:pt x="29" y="98"/>
                </a:cubicBezTo>
                <a:close/>
                <a:moveTo>
                  <a:pt x="159" y="87"/>
                </a:moveTo>
                <a:cubicBezTo>
                  <a:pt x="162" y="84"/>
                  <a:pt x="163" y="80"/>
                  <a:pt x="158" y="76"/>
                </a:cubicBezTo>
                <a:cubicBezTo>
                  <a:pt x="154" y="72"/>
                  <a:pt x="154" y="72"/>
                  <a:pt x="154" y="72"/>
                </a:cubicBezTo>
                <a:cubicBezTo>
                  <a:pt x="135" y="55"/>
                  <a:pt x="111" y="35"/>
                  <a:pt x="106" y="32"/>
                </a:cubicBezTo>
                <a:cubicBezTo>
                  <a:pt x="104" y="33"/>
                  <a:pt x="97" y="35"/>
                  <a:pt x="92" y="37"/>
                </a:cubicBezTo>
                <a:cubicBezTo>
                  <a:pt x="92" y="37"/>
                  <a:pt x="92" y="37"/>
                  <a:pt x="92" y="37"/>
                </a:cubicBezTo>
                <a:cubicBezTo>
                  <a:pt x="92" y="37"/>
                  <a:pt x="84" y="39"/>
                  <a:pt x="76" y="39"/>
                </a:cubicBezTo>
                <a:cubicBezTo>
                  <a:pt x="72" y="39"/>
                  <a:pt x="69" y="38"/>
                  <a:pt x="67" y="37"/>
                </a:cubicBezTo>
                <a:cubicBezTo>
                  <a:pt x="63" y="34"/>
                  <a:pt x="62" y="31"/>
                  <a:pt x="62" y="29"/>
                </a:cubicBezTo>
                <a:cubicBezTo>
                  <a:pt x="62" y="24"/>
                  <a:pt x="66" y="21"/>
                  <a:pt x="69" y="19"/>
                </a:cubicBezTo>
                <a:cubicBezTo>
                  <a:pt x="29" y="14"/>
                  <a:pt x="29" y="14"/>
                  <a:pt x="29" y="14"/>
                </a:cubicBezTo>
                <a:cubicBezTo>
                  <a:pt x="25" y="71"/>
                  <a:pt x="25" y="71"/>
                  <a:pt x="25" y="71"/>
                </a:cubicBezTo>
                <a:cubicBezTo>
                  <a:pt x="28" y="68"/>
                  <a:pt x="31" y="67"/>
                  <a:pt x="34" y="67"/>
                </a:cubicBezTo>
                <a:cubicBezTo>
                  <a:pt x="36" y="67"/>
                  <a:pt x="39" y="68"/>
                  <a:pt x="41" y="70"/>
                </a:cubicBezTo>
                <a:cubicBezTo>
                  <a:pt x="45" y="74"/>
                  <a:pt x="47" y="78"/>
                  <a:pt x="47" y="82"/>
                </a:cubicBezTo>
                <a:cubicBezTo>
                  <a:pt x="50" y="81"/>
                  <a:pt x="53" y="82"/>
                  <a:pt x="56" y="85"/>
                </a:cubicBezTo>
                <a:cubicBezTo>
                  <a:pt x="60" y="88"/>
                  <a:pt x="62" y="92"/>
                  <a:pt x="61" y="96"/>
                </a:cubicBezTo>
                <a:cubicBezTo>
                  <a:pt x="64" y="96"/>
                  <a:pt x="68" y="97"/>
                  <a:pt x="70" y="99"/>
                </a:cubicBezTo>
                <a:cubicBezTo>
                  <a:pt x="74" y="102"/>
                  <a:pt x="76" y="106"/>
                  <a:pt x="76" y="109"/>
                </a:cubicBezTo>
                <a:cubicBezTo>
                  <a:pt x="79" y="108"/>
                  <a:pt x="83" y="109"/>
                  <a:pt x="86" y="112"/>
                </a:cubicBezTo>
                <a:cubicBezTo>
                  <a:pt x="91" y="116"/>
                  <a:pt x="93" y="121"/>
                  <a:pt x="91" y="126"/>
                </a:cubicBezTo>
                <a:cubicBezTo>
                  <a:pt x="94" y="129"/>
                  <a:pt x="94" y="129"/>
                  <a:pt x="94" y="129"/>
                </a:cubicBezTo>
                <a:cubicBezTo>
                  <a:pt x="95" y="129"/>
                  <a:pt x="95" y="129"/>
                  <a:pt x="95" y="129"/>
                </a:cubicBezTo>
                <a:cubicBezTo>
                  <a:pt x="95" y="129"/>
                  <a:pt x="95" y="129"/>
                  <a:pt x="95" y="129"/>
                </a:cubicBezTo>
                <a:cubicBezTo>
                  <a:pt x="97" y="130"/>
                  <a:pt x="98" y="131"/>
                  <a:pt x="99" y="131"/>
                </a:cubicBezTo>
                <a:cubicBezTo>
                  <a:pt x="102" y="131"/>
                  <a:pt x="104" y="129"/>
                  <a:pt x="105" y="128"/>
                </a:cubicBezTo>
                <a:cubicBezTo>
                  <a:pt x="107" y="125"/>
                  <a:pt x="109" y="123"/>
                  <a:pt x="106" y="120"/>
                </a:cubicBezTo>
                <a:cubicBezTo>
                  <a:pt x="105" y="119"/>
                  <a:pt x="105" y="119"/>
                  <a:pt x="105" y="119"/>
                </a:cubicBezTo>
                <a:cubicBezTo>
                  <a:pt x="88" y="104"/>
                  <a:pt x="88" y="104"/>
                  <a:pt x="88" y="104"/>
                </a:cubicBezTo>
                <a:cubicBezTo>
                  <a:pt x="87" y="104"/>
                  <a:pt x="87" y="103"/>
                  <a:pt x="87" y="102"/>
                </a:cubicBezTo>
                <a:cubicBezTo>
                  <a:pt x="87" y="102"/>
                  <a:pt x="87" y="101"/>
                  <a:pt x="87" y="100"/>
                </a:cubicBezTo>
                <a:cubicBezTo>
                  <a:pt x="88" y="99"/>
                  <a:pt x="90" y="99"/>
                  <a:pt x="91" y="100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6" y="120"/>
                  <a:pt x="117" y="121"/>
                  <a:pt x="119" y="121"/>
                </a:cubicBezTo>
                <a:cubicBezTo>
                  <a:pt x="121" y="121"/>
                  <a:pt x="123" y="120"/>
                  <a:pt x="125" y="117"/>
                </a:cubicBezTo>
                <a:cubicBezTo>
                  <a:pt x="126" y="116"/>
                  <a:pt x="127" y="114"/>
                  <a:pt x="127" y="112"/>
                </a:cubicBezTo>
                <a:cubicBezTo>
                  <a:pt x="127" y="110"/>
                  <a:pt x="125" y="108"/>
                  <a:pt x="123" y="106"/>
                </a:cubicBezTo>
                <a:cubicBezTo>
                  <a:pt x="121" y="104"/>
                  <a:pt x="121" y="104"/>
                  <a:pt x="121" y="104"/>
                </a:cubicBezTo>
                <a:cubicBezTo>
                  <a:pt x="121" y="104"/>
                  <a:pt x="121" y="104"/>
                  <a:pt x="121" y="104"/>
                </a:cubicBezTo>
                <a:cubicBezTo>
                  <a:pt x="108" y="93"/>
                  <a:pt x="108" y="93"/>
                  <a:pt x="108" y="93"/>
                </a:cubicBezTo>
                <a:cubicBezTo>
                  <a:pt x="107" y="93"/>
                  <a:pt x="107" y="92"/>
                  <a:pt x="107" y="91"/>
                </a:cubicBezTo>
                <a:cubicBezTo>
                  <a:pt x="107" y="91"/>
                  <a:pt x="107" y="90"/>
                  <a:pt x="107" y="89"/>
                </a:cubicBezTo>
                <a:cubicBezTo>
                  <a:pt x="108" y="88"/>
                  <a:pt x="110" y="88"/>
                  <a:pt x="111" y="89"/>
                </a:cubicBezTo>
                <a:cubicBezTo>
                  <a:pt x="133" y="106"/>
                  <a:pt x="133" y="106"/>
                  <a:pt x="133" y="106"/>
                </a:cubicBezTo>
                <a:cubicBezTo>
                  <a:pt x="134" y="107"/>
                  <a:pt x="136" y="108"/>
                  <a:pt x="137" y="108"/>
                </a:cubicBezTo>
                <a:cubicBezTo>
                  <a:pt x="140" y="108"/>
                  <a:pt x="143" y="107"/>
                  <a:pt x="145" y="104"/>
                </a:cubicBezTo>
                <a:cubicBezTo>
                  <a:pt x="146" y="102"/>
                  <a:pt x="147" y="100"/>
                  <a:pt x="147" y="99"/>
                </a:cubicBezTo>
                <a:cubicBezTo>
                  <a:pt x="147" y="97"/>
                  <a:pt x="145" y="95"/>
                  <a:pt x="143" y="93"/>
                </a:cubicBezTo>
                <a:cubicBezTo>
                  <a:pt x="137" y="88"/>
                  <a:pt x="137" y="88"/>
                  <a:pt x="137" y="88"/>
                </a:cubicBezTo>
                <a:cubicBezTo>
                  <a:pt x="137" y="88"/>
                  <a:pt x="137" y="88"/>
                  <a:pt x="137" y="88"/>
                </a:cubicBezTo>
                <a:cubicBezTo>
                  <a:pt x="126" y="79"/>
                  <a:pt x="126" y="79"/>
                  <a:pt x="126" y="79"/>
                </a:cubicBezTo>
                <a:cubicBezTo>
                  <a:pt x="125" y="78"/>
                  <a:pt x="125" y="76"/>
                  <a:pt x="126" y="75"/>
                </a:cubicBezTo>
                <a:cubicBezTo>
                  <a:pt x="127" y="74"/>
                  <a:pt x="128" y="74"/>
                  <a:pt x="130" y="74"/>
                </a:cubicBezTo>
                <a:cubicBezTo>
                  <a:pt x="148" y="89"/>
                  <a:pt x="148" y="89"/>
                  <a:pt x="148" y="89"/>
                </a:cubicBezTo>
                <a:cubicBezTo>
                  <a:pt x="151" y="92"/>
                  <a:pt x="156" y="91"/>
                  <a:pt x="159" y="8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837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ounded Rectangle 4"/>
          <p:cNvSpPr/>
          <p:nvPr/>
        </p:nvSpPr>
        <p:spPr bwMode="auto">
          <a:xfrm>
            <a:off x="6024005" y="1561430"/>
            <a:ext cx="2801478" cy="99230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42203" tIns="42203" rIns="42203" bIns="42203" spcCol="1270"/>
          <a:lstStyle/>
          <a:p>
            <a:pPr marL="171450" lvl="1" indent="-171450" defTabSz="492382" latinLnBrk="1">
              <a:spcAft>
                <a:spcPct val="150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ndment of legislation and </a:t>
            </a: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les</a:t>
            </a: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 defTabSz="492382" latinLnBrk="1">
              <a:spcAft>
                <a:spcPct val="150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aise with AG Chambers’ for </a:t>
            </a:r>
            <a:r>
              <a:rPr lang="en-US" sz="12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vice</a:t>
            </a:r>
            <a:endParaRPr lang="en-US" sz="12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algn="just" defTabSz="492382" latinLnBrk="1">
              <a:lnSpc>
                <a:spcPct val="90000"/>
              </a:lnSpc>
              <a:spcAft>
                <a:spcPct val="15000"/>
              </a:spcAft>
              <a:defRPr/>
            </a:pP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10254" name="Title 1"/>
          <p:cNvSpPr txBox="1">
            <a:spLocks/>
          </p:cNvSpPr>
          <p:nvPr/>
        </p:nvSpPr>
        <p:spPr bwMode="auto">
          <a:xfrm>
            <a:off x="2286000" y="270631"/>
            <a:ext cx="6858000" cy="448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latinLnBrk="1" hangingPunct="1">
              <a:defRPr/>
            </a:pPr>
            <a:r>
              <a:rPr lang="en-MY" altLang="en-US" sz="3200" b="1" dirty="0">
                <a:solidFill>
                  <a:srgbClr val="FFFF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Implementation Strategy</a:t>
            </a:r>
          </a:p>
        </p:txBody>
      </p:sp>
      <p:sp>
        <p:nvSpPr>
          <p:cNvPr id="26" name="Freeform 16"/>
          <p:cNvSpPr>
            <a:spLocks/>
          </p:cNvSpPr>
          <p:nvPr/>
        </p:nvSpPr>
        <p:spPr bwMode="auto">
          <a:xfrm>
            <a:off x="3041240" y="3167317"/>
            <a:ext cx="1556992" cy="1414146"/>
          </a:xfrm>
          <a:custGeom>
            <a:avLst/>
            <a:gdLst>
              <a:gd name="T0" fmla="*/ 2147483646 w 475"/>
              <a:gd name="T1" fmla="*/ 0 h 474"/>
              <a:gd name="T2" fmla="*/ 2147483646 w 475"/>
              <a:gd name="T3" fmla="*/ 0 h 474"/>
              <a:gd name="T4" fmla="*/ 0 w 475"/>
              <a:gd name="T5" fmla="*/ 2147483646 h 474"/>
              <a:gd name="T6" fmla="*/ 2147483646 w 475"/>
              <a:gd name="T7" fmla="*/ 2147483646 h 474"/>
              <a:gd name="T8" fmla="*/ 2147483646 w 475"/>
              <a:gd name="T9" fmla="*/ 2147483646 h 474"/>
              <a:gd name="T10" fmla="*/ 2147483646 w 475"/>
              <a:gd name="T11" fmla="*/ 2147483646 h 474"/>
              <a:gd name="T12" fmla="*/ 2147483646 w 475"/>
              <a:gd name="T13" fmla="*/ 0 h 4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75" h="474">
                <a:moveTo>
                  <a:pt x="453" y="0"/>
                </a:moveTo>
                <a:cubicBezTo>
                  <a:pt x="250" y="0"/>
                  <a:pt x="250" y="0"/>
                  <a:pt x="250" y="0"/>
                </a:cubicBezTo>
                <a:cubicBezTo>
                  <a:pt x="0" y="250"/>
                  <a:pt x="0" y="250"/>
                  <a:pt x="0" y="250"/>
                </a:cubicBezTo>
                <a:cubicBezTo>
                  <a:pt x="51" y="345"/>
                  <a:pt x="129" y="423"/>
                  <a:pt x="223" y="474"/>
                </a:cubicBezTo>
                <a:cubicBezTo>
                  <a:pt x="475" y="223"/>
                  <a:pt x="475" y="223"/>
                  <a:pt x="475" y="223"/>
                </a:cubicBezTo>
                <a:cubicBezTo>
                  <a:pt x="475" y="22"/>
                  <a:pt x="475" y="22"/>
                  <a:pt x="475" y="22"/>
                </a:cubicBezTo>
                <a:cubicBezTo>
                  <a:pt x="475" y="10"/>
                  <a:pt x="465" y="0"/>
                  <a:pt x="453" y="0"/>
                </a:cubicBezTo>
                <a:close/>
              </a:path>
            </a:pathLst>
          </a:custGeom>
          <a:solidFill>
            <a:srgbClr val="8C103D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Freeform 17"/>
          <p:cNvSpPr>
            <a:spLocks/>
          </p:cNvSpPr>
          <p:nvPr/>
        </p:nvSpPr>
        <p:spPr bwMode="auto">
          <a:xfrm>
            <a:off x="2821154" y="3167317"/>
            <a:ext cx="1039556" cy="746473"/>
          </a:xfrm>
          <a:custGeom>
            <a:avLst/>
            <a:gdLst>
              <a:gd name="T0" fmla="*/ 2147483646 w 317"/>
              <a:gd name="T1" fmla="*/ 2147483646 h 250"/>
              <a:gd name="T2" fmla="*/ 2147483646 w 317"/>
              <a:gd name="T3" fmla="*/ 2147483646 h 250"/>
              <a:gd name="T4" fmla="*/ 2147483646 w 317"/>
              <a:gd name="T5" fmla="*/ 0 h 250"/>
              <a:gd name="T6" fmla="*/ 2147483646 w 317"/>
              <a:gd name="T7" fmla="*/ 0 h 250"/>
              <a:gd name="T8" fmla="*/ 2147483646 w 317"/>
              <a:gd name="T9" fmla="*/ 2147483646 h 2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17" h="250">
                <a:moveTo>
                  <a:pt x="1" y="23"/>
                </a:moveTo>
                <a:cubicBezTo>
                  <a:pt x="6" y="105"/>
                  <a:pt x="30" y="182"/>
                  <a:pt x="67" y="250"/>
                </a:cubicBezTo>
                <a:cubicBezTo>
                  <a:pt x="317" y="0"/>
                  <a:pt x="317" y="0"/>
                  <a:pt x="317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1"/>
                  <a:pt x="1" y="23"/>
                </a:cubicBezTo>
                <a:close/>
              </a:path>
            </a:pathLst>
          </a:custGeom>
          <a:solidFill>
            <a:srgbClr val="A6325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eform 18"/>
          <p:cNvSpPr>
            <a:spLocks/>
          </p:cNvSpPr>
          <p:nvPr/>
        </p:nvSpPr>
        <p:spPr bwMode="auto">
          <a:xfrm>
            <a:off x="3771738" y="3832859"/>
            <a:ext cx="826494" cy="948799"/>
          </a:xfrm>
          <a:custGeom>
            <a:avLst/>
            <a:gdLst>
              <a:gd name="T0" fmla="*/ 2147483646 w 252"/>
              <a:gd name="T1" fmla="*/ 0 h 318"/>
              <a:gd name="T2" fmla="*/ 0 w 252"/>
              <a:gd name="T3" fmla="*/ 2147483646 h 318"/>
              <a:gd name="T4" fmla="*/ 2147483646 w 252"/>
              <a:gd name="T5" fmla="*/ 2147483646 h 318"/>
              <a:gd name="T6" fmla="*/ 2147483646 w 252"/>
              <a:gd name="T7" fmla="*/ 2147483646 h 318"/>
              <a:gd name="T8" fmla="*/ 2147483646 w 252"/>
              <a:gd name="T9" fmla="*/ 0 h 3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52" h="318">
                <a:moveTo>
                  <a:pt x="252" y="0"/>
                </a:moveTo>
                <a:cubicBezTo>
                  <a:pt x="0" y="251"/>
                  <a:pt x="0" y="251"/>
                  <a:pt x="0" y="251"/>
                </a:cubicBezTo>
                <a:cubicBezTo>
                  <a:pt x="69" y="289"/>
                  <a:pt x="146" y="312"/>
                  <a:pt x="229" y="318"/>
                </a:cubicBezTo>
                <a:cubicBezTo>
                  <a:pt x="241" y="318"/>
                  <a:pt x="252" y="309"/>
                  <a:pt x="252" y="296"/>
                </a:cubicBezTo>
                <a:lnTo>
                  <a:pt x="252" y="0"/>
                </a:lnTo>
                <a:close/>
              </a:path>
            </a:pathLst>
          </a:custGeom>
          <a:solidFill>
            <a:srgbClr val="78012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Freeform 19"/>
          <p:cNvSpPr>
            <a:spLocks/>
          </p:cNvSpPr>
          <p:nvPr/>
        </p:nvSpPr>
        <p:spPr bwMode="auto">
          <a:xfrm>
            <a:off x="3775251" y="1472045"/>
            <a:ext cx="822981" cy="946668"/>
          </a:xfrm>
          <a:custGeom>
            <a:avLst/>
            <a:gdLst>
              <a:gd name="T0" fmla="*/ 2147483646 w 251"/>
              <a:gd name="T1" fmla="*/ 2147483646 h 317"/>
              <a:gd name="T2" fmla="*/ 0 w 251"/>
              <a:gd name="T3" fmla="*/ 2147483646 h 317"/>
              <a:gd name="T4" fmla="*/ 2147483646 w 251"/>
              <a:gd name="T5" fmla="*/ 2147483646 h 317"/>
              <a:gd name="T6" fmla="*/ 2147483646 w 251"/>
              <a:gd name="T7" fmla="*/ 2147483646 h 317"/>
              <a:gd name="T8" fmla="*/ 2147483646 w 251"/>
              <a:gd name="T9" fmla="*/ 2147483646 h 3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51" h="317">
                <a:moveTo>
                  <a:pt x="228" y="1"/>
                </a:moveTo>
                <a:cubicBezTo>
                  <a:pt x="146" y="6"/>
                  <a:pt x="69" y="30"/>
                  <a:pt x="0" y="67"/>
                </a:cubicBezTo>
                <a:cubicBezTo>
                  <a:pt x="251" y="317"/>
                  <a:pt x="251" y="317"/>
                  <a:pt x="251" y="317"/>
                </a:cubicBezTo>
                <a:cubicBezTo>
                  <a:pt x="251" y="22"/>
                  <a:pt x="251" y="22"/>
                  <a:pt x="251" y="22"/>
                </a:cubicBezTo>
                <a:cubicBezTo>
                  <a:pt x="251" y="10"/>
                  <a:pt x="240" y="0"/>
                  <a:pt x="228" y="1"/>
                </a:cubicBezTo>
                <a:close/>
              </a:path>
            </a:pathLst>
          </a:custGeom>
          <a:solidFill>
            <a:srgbClr val="FFDA8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Freeform 20"/>
          <p:cNvSpPr>
            <a:spLocks/>
          </p:cNvSpPr>
          <p:nvPr/>
        </p:nvSpPr>
        <p:spPr bwMode="auto">
          <a:xfrm>
            <a:off x="3059510" y="1681324"/>
            <a:ext cx="1556992" cy="1414146"/>
          </a:xfrm>
          <a:custGeom>
            <a:avLst/>
            <a:gdLst>
              <a:gd name="T0" fmla="*/ 2147483646 w 475"/>
              <a:gd name="T1" fmla="*/ 2147483646 h 474"/>
              <a:gd name="T2" fmla="*/ 2147483646 w 475"/>
              <a:gd name="T3" fmla="*/ 2147483646 h 474"/>
              <a:gd name="T4" fmla="*/ 2147483646 w 475"/>
              <a:gd name="T5" fmla="*/ 0 h 474"/>
              <a:gd name="T6" fmla="*/ 0 w 475"/>
              <a:gd name="T7" fmla="*/ 2147483646 h 474"/>
              <a:gd name="T8" fmla="*/ 2147483646 w 475"/>
              <a:gd name="T9" fmla="*/ 2147483646 h 474"/>
              <a:gd name="T10" fmla="*/ 2147483646 w 475"/>
              <a:gd name="T11" fmla="*/ 2147483646 h 474"/>
              <a:gd name="T12" fmla="*/ 2147483646 w 475"/>
              <a:gd name="T13" fmla="*/ 2147483646 h 4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75" h="474">
                <a:moveTo>
                  <a:pt x="475" y="453"/>
                </a:moveTo>
                <a:cubicBezTo>
                  <a:pt x="475" y="250"/>
                  <a:pt x="475" y="250"/>
                  <a:pt x="475" y="250"/>
                </a:cubicBezTo>
                <a:cubicBezTo>
                  <a:pt x="224" y="0"/>
                  <a:pt x="224" y="0"/>
                  <a:pt x="224" y="0"/>
                </a:cubicBezTo>
                <a:cubicBezTo>
                  <a:pt x="130" y="51"/>
                  <a:pt x="52" y="129"/>
                  <a:pt x="0" y="223"/>
                </a:cubicBezTo>
                <a:cubicBezTo>
                  <a:pt x="252" y="474"/>
                  <a:pt x="252" y="474"/>
                  <a:pt x="252" y="474"/>
                </a:cubicBezTo>
                <a:cubicBezTo>
                  <a:pt x="453" y="474"/>
                  <a:pt x="453" y="474"/>
                  <a:pt x="453" y="474"/>
                </a:cubicBezTo>
                <a:cubicBezTo>
                  <a:pt x="465" y="474"/>
                  <a:pt x="475" y="465"/>
                  <a:pt x="475" y="453"/>
                </a:cubicBezTo>
                <a:close/>
              </a:path>
            </a:pathLst>
          </a:custGeom>
          <a:solidFill>
            <a:srgbClr val="EAB20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Freeform 21"/>
          <p:cNvSpPr>
            <a:spLocks/>
          </p:cNvSpPr>
          <p:nvPr/>
        </p:nvSpPr>
        <p:spPr bwMode="auto">
          <a:xfrm>
            <a:off x="2821154" y="2337783"/>
            <a:ext cx="1045409" cy="748603"/>
          </a:xfrm>
          <a:custGeom>
            <a:avLst/>
            <a:gdLst>
              <a:gd name="T0" fmla="*/ 2147483646 w 319"/>
              <a:gd name="T1" fmla="*/ 2147483646 h 251"/>
              <a:gd name="T2" fmla="*/ 2147483646 w 319"/>
              <a:gd name="T3" fmla="*/ 0 h 251"/>
              <a:gd name="T4" fmla="*/ 2147483646 w 319"/>
              <a:gd name="T5" fmla="*/ 2147483646 h 251"/>
              <a:gd name="T6" fmla="*/ 2147483646 w 319"/>
              <a:gd name="T7" fmla="*/ 2147483646 h 251"/>
              <a:gd name="T8" fmla="*/ 2147483646 w 319"/>
              <a:gd name="T9" fmla="*/ 2147483646 h 25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19" h="251">
                <a:moveTo>
                  <a:pt x="319" y="251"/>
                </a:moveTo>
                <a:cubicBezTo>
                  <a:pt x="67" y="0"/>
                  <a:pt x="67" y="0"/>
                  <a:pt x="67" y="0"/>
                </a:cubicBezTo>
                <a:cubicBezTo>
                  <a:pt x="30" y="69"/>
                  <a:pt x="6" y="146"/>
                  <a:pt x="1" y="229"/>
                </a:cubicBezTo>
                <a:cubicBezTo>
                  <a:pt x="0" y="241"/>
                  <a:pt x="10" y="251"/>
                  <a:pt x="23" y="251"/>
                </a:cubicBezTo>
                <a:lnTo>
                  <a:pt x="319" y="251"/>
                </a:lnTo>
                <a:close/>
              </a:path>
            </a:pathLst>
          </a:custGeom>
          <a:solidFill>
            <a:srgbClr val="FAB320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Freeform 22"/>
          <p:cNvSpPr>
            <a:spLocks/>
          </p:cNvSpPr>
          <p:nvPr/>
        </p:nvSpPr>
        <p:spPr bwMode="auto">
          <a:xfrm>
            <a:off x="4682520" y="3839249"/>
            <a:ext cx="822982" cy="942409"/>
          </a:xfrm>
          <a:custGeom>
            <a:avLst/>
            <a:gdLst>
              <a:gd name="T0" fmla="*/ 2147483646 w 251"/>
              <a:gd name="T1" fmla="*/ 2147483646 h 316"/>
              <a:gd name="T2" fmla="*/ 2147483646 w 251"/>
              <a:gd name="T3" fmla="*/ 2147483646 h 316"/>
              <a:gd name="T4" fmla="*/ 0 w 251"/>
              <a:gd name="T5" fmla="*/ 0 h 316"/>
              <a:gd name="T6" fmla="*/ 0 w 251"/>
              <a:gd name="T7" fmla="*/ 2147483646 h 316"/>
              <a:gd name="T8" fmla="*/ 2147483646 w 251"/>
              <a:gd name="T9" fmla="*/ 2147483646 h 3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51" h="316">
                <a:moveTo>
                  <a:pt x="23" y="316"/>
                </a:moveTo>
                <a:cubicBezTo>
                  <a:pt x="105" y="310"/>
                  <a:pt x="182" y="287"/>
                  <a:pt x="251" y="250"/>
                </a:cubicBezTo>
                <a:cubicBezTo>
                  <a:pt x="0" y="0"/>
                  <a:pt x="0" y="0"/>
                  <a:pt x="0" y="0"/>
                </a:cubicBezTo>
                <a:cubicBezTo>
                  <a:pt x="0" y="294"/>
                  <a:pt x="0" y="294"/>
                  <a:pt x="0" y="294"/>
                </a:cubicBezTo>
                <a:cubicBezTo>
                  <a:pt x="0" y="307"/>
                  <a:pt x="11" y="316"/>
                  <a:pt x="23" y="316"/>
                </a:cubicBezTo>
                <a:close/>
              </a:path>
            </a:pathLst>
          </a:custGeom>
          <a:solidFill>
            <a:srgbClr val="CC233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Freeform 23"/>
          <p:cNvSpPr>
            <a:spLocks/>
          </p:cNvSpPr>
          <p:nvPr/>
        </p:nvSpPr>
        <p:spPr bwMode="auto">
          <a:xfrm>
            <a:off x="4682520" y="3167317"/>
            <a:ext cx="1553481" cy="1417340"/>
          </a:xfrm>
          <a:custGeom>
            <a:avLst/>
            <a:gdLst>
              <a:gd name="T0" fmla="*/ 0 w 474"/>
              <a:gd name="T1" fmla="*/ 2147483646 h 475"/>
              <a:gd name="T2" fmla="*/ 0 w 474"/>
              <a:gd name="T3" fmla="*/ 2147483646 h 475"/>
              <a:gd name="T4" fmla="*/ 2147483646 w 474"/>
              <a:gd name="T5" fmla="*/ 2147483646 h 475"/>
              <a:gd name="T6" fmla="*/ 2147483646 w 474"/>
              <a:gd name="T7" fmla="*/ 2147483646 h 475"/>
              <a:gd name="T8" fmla="*/ 2147483646 w 474"/>
              <a:gd name="T9" fmla="*/ 0 h 475"/>
              <a:gd name="T10" fmla="*/ 2147483646 w 474"/>
              <a:gd name="T11" fmla="*/ 0 h 475"/>
              <a:gd name="T12" fmla="*/ 0 w 474"/>
              <a:gd name="T13" fmla="*/ 2147483646 h 47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74" h="475">
                <a:moveTo>
                  <a:pt x="0" y="22"/>
                </a:moveTo>
                <a:cubicBezTo>
                  <a:pt x="0" y="225"/>
                  <a:pt x="0" y="225"/>
                  <a:pt x="0" y="225"/>
                </a:cubicBezTo>
                <a:cubicBezTo>
                  <a:pt x="251" y="475"/>
                  <a:pt x="251" y="475"/>
                  <a:pt x="251" y="475"/>
                </a:cubicBezTo>
                <a:cubicBezTo>
                  <a:pt x="345" y="424"/>
                  <a:pt x="423" y="346"/>
                  <a:pt x="474" y="252"/>
                </a:cubicBezTo>
                <a:cubicBezTo>
                  <a:pt x="223" y="0"/>
                  <a:pt x="223" y="0"/>
                  <a:pt x="223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" y="0"/>
                  <a:pt x="0" y="10"/>
                  <a:pt x="0" y="22"/>
                </a:cubicBezTo>
                <a:close/>
              </a:path>
            </a:pathLst>
          </a:custGeom>
          <a:solidFill>
            <a:srgbClr val="E24956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reeform 24"/>
          <p:cNvSpPr>
            <a:spLocks/>
          </p:cNvSpPr>
          <p:nvPr/>
        </p:nvSpPr>
        <p:spPr bwMode="auto">
          <a:xfrm>
            <a:off x="5414190" y="3167317"/>
            <a:ext cx="1041897" cy="751797"/>
          </a:xfrm>
          <a:custGeom>
            <a:avLst/>
            <a:gdLst>
              <a:gd name="T0" fmla="*/ 0 w 318"/>
              <a:gd name="T1" fmla="*/ 0 h 252"/>
              <a:gd name="T2" fmla="*/ 2147483646 w 318"/>
              <a:gd name="T3" fmla="*/ 2147483646 h 252"/>
              <a:gd name="T4" fmla="*/ 2147483646 w 318"/>
              <a:gd name="T5" fmla="*/ 2147483646 h 252"/>
              <a:gd name="T6" fmla="*/ 2147483646 w 318"/>
              <a:gd name="T7" fmla="*/ 0 h 252"/>
              <a:gd name="T8" fmla="*/ 0 w 318"/>
              <a:gd name="T9" fmla="*/ 0 h 25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18" h="252">
                <a:moveTo>
                  <a:pt x="0" y="0"/>
                </a:moveTo>
                <a:cubicBezTo>
                  <a:pt x="251" y="252"/>
                  <a:pt x="251" y="252"/>
                  <a:pt x="251" y="252"/>
                </a:cubicBezTo>
                <a:cubicBezTo>
                  <a:pt x="289" y="183"/>
                  <a:pt x="312" y="105"/>
                  <a:pt x="318" y="23"/>
                </a:cubicBezTo>
                <a:cubicBezTo>
                  <a:pt x="318" y="11"/>
                  <a:pt x="309" y="0"/>
                  <a:pt x="296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06E7A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Freeform 25"/>
          <p:cNvSpPr>
            <a:spLocks/>
          </p:cNvSpPr>
          <p:nvPr/>
        </p:nvSpPr>
        <p:spPr bwMode="auto">
          <a:xfrm>
            <a:off x="5420043" y="2340978"/>
            <a:ext cx="1036044" cy="745408"/>
          </a:xfrm>
          <a:custGeom>
            <a:avLst/>
            <a:gdLst>
              <a:gd name="T0" fmla="*/ 2147483646 w 316"/>
              <a:gd name="T1" fmla="*/ 2147483646 h 250"/>
              <a:gd name="T2" fmla="*/ 2147483646 w 316"/>
              <a:gd name="T3" fmla="*/ 0 h 250"/>
              <a:gd name="T4" fmla="*/ 0 w 316"/>
              <a:gd name="T5" fmla="*/ 2147483646 h 250"/>
              <a:gd name="T6" fmla="*/ 2147483646 w 316"/>
              <a:gd name="T7" fmla="*/ 2147483646 h 250"/>
              <a:gd name="T8" fmla="*/ 2147483646 w 316"/>
              <a:gd name="T9" fmla="*/ 2147483646 h 2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16" h="250">
                <a:moveTo>
                  <a:pt x="316" y="227"/>
                </a:moveTo>
                <a:cubicBezTo>
                  <a:pt x="310" y="146"/>
                  <a:pt x="287" y="69"/>
                  <a:pt x="250" y="0"/>
                </a:cubicBezTo>
                <a:cubicBezTo>
                  <a:pt x="0" y="250"/>
                  <a:pt x="0" y="250"/>
                  <a:pt x="0" y="250"/>
                </a:cubicBezTo>
                <a:cubicBezTo>
                  <a:pt x="294" y="250"/>
                  <a:pt x="294" y="250"/>
                  <a:pt x="294" y="250"/>
                </a:cubicBezTo>
                <a:cubicBezTo>
                  <a:pt x="307" y="250"/>
                  <a:pt x="316" y="240"/>
                  <a:pt x="316" y="227"/>
                </a:cubicBezTo>
                <a:close/>
              </a:path>
            </a:pathLst>
          </a:custGeom>
          <a:solidFill>
            <a:srgbClr val="FA790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Freeform 26"/>
          <p:cNvSpPr>
            <a:spLocks/>
          </p:cNvSpPr>
          <p:nvPr/>
        </p:nvSpPr>
        <p:spPr bwMode="auto">
          <a:xfrm>
            <a:off x="4664646" y="1672241"/>
            <a:ext cx="1571355" cy="1404419"/>
          </a:xfrm>
          <a:custGeom>
            <a:avLst/>
            <a:gdLst>
              <a:gd name="T0" fmla="*/ 2147483646 w 475"/>
              <a:gd name="T1" fmla="*/ 2147483646 h 474"/>
              <a:gd name="T2" fmla="*/ 2147483646 w 475"/>
              <a:gd name="T3" fmla="*/ 2147483646 h 474"/>
              <a:gd name="T4" fmla="*/ 2147483646 w 475"/>
              <a:gd name="T5" fmla="*/ 2147483646 h 474"/>
              <a:gd name="T6" fmla="*/ 2147483646 w 475"/>
              <a:gd name="T7" fmla="*/ 0 h 474"/>
              <a:gd name="T8" fmla="*/ 0 w 475"/>
              <a:gd name="T9" fmla="*/ 2147483646 h 474"/>
              <a:gd name="T10" fmla="*/ 0 w 475"/>
              <a:gd name="T11" fmla="*/ 2147483646 h 474"/>
              <a:gd name="T12" fmla="*/ 2147483646 w 475"/>
              <a:gd name="T13" fmla="*/ 2147483646 h 4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75" h="474">
                <a:moveTo>
                  <a:pt x="22" y="474"/>
                </a:moveTo>
                <a:cubicBezTo>
                  <a:pt x="225" y="474"/>
                  <a:pt x="225" y="474"/>
                  <a:pt x="225" y="474"/>
                </a:cubicBezTo>
                <a:cubicBezTo>
                  <a:pt x="475" y="224"/>
                  <a:pt x="475" y="224"/>
                  <a:pt x="475" y="224"/>
                </a:cubicBezTo>
                <a:cubicBezTo>
                  <a:pt x="424" y="130"/>
                  <a:pt x="346" y="52"/>
                  <a:pt x="252" y="0"/>
                </a:cubicBezTo>
                <a:cubicBezTo>
                  <a:pt x="0" y="252"/>
                  <a:pt x="0" y="252"/>
                  <a:pt x="0" y="252"/>
                </a:cubicBezTo>
                <a:cubicBezTo>
                  <a:pt x="0" y="453"/>
                  <a:pt x="0" y="453"/>
                  <a:pt x="0" y="453"/>
                </a:cubicBezTo>
                <a:cubicBezTo>
                  <a:pt x="0" y="465"/>
                  <a:pt x="10" y="474"/>
                  <a:pt x="22" y="474"/>
                </a:cubicBezTo>
                <a:close/>
              </a:path>
            </a:pathLst>
          </a:custGeom>
          <a:solidFill>
            <a:srgbClr val="FF912B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endParaRPr lang="en-US" sz="1400" b="1" dirty="0" smtClean="0">
              <a:solidFill>
                <a:prstClr val="white"/>
              </a:solidFill>
              <a:latin typeface="Cambria" panose="02040503050406030204" pitchFamily="18" charset="0"/>
            </a:endParaRPr>
          </a:p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endParaRPr lang="en-US" sz="1400" b="1" dirty="0">
              <a:solidFill>
                <a:prstClr val="white"/>
              </a:solidFill>
              <a:latin typeface="Cambria" panose="02040503050406030204" pitchFamily="18" charset="0"/>
            </a:endParaRPr>
          </a:p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endParaRPr lang="en-US" sz="1400" b="1" dirty="0" smtClean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38" name="Freeform 27"/>
          <p:cNvSpPr>
            <a:spLocks/>
          </p:cNvSpPr>
          <p:nvPr/>
        </p:nvSpPr>
        <p:spPr bwMode="auto">
          <a:xfrm>
            <a:off x="4674087" y="1452736"/>
            <a:ext cx="826494" cy="951993"/>
          </a:xfrm>
          <a:custGeom>
            <a:avLst/>
            <a:gdLst>
              <a:gd name="T0" fmla="*/ 0 w 252"/>
              <a:gd name="T1" fmla="*/ 2147483646 h 319"/>
              <a:gd name="T2" fmla="*/ 2147483646 w 252"/>
              <a:gd name="T3" fmla="*/ 2147483646 h 319"/>
              <a:gd name="T4" fmla="*/ 2147483646 w 252"/>
              <a:gd name="T5" fmla="*/ 2147483646 h 319"/>
              <a:gd name="T6" fmla="*/ 0 w 252"/>
              <a:gd name="T7" fmla="*/ 2147483646 h 319"/>
              <a:gd name="T8" fmla="*/ 0 w 252"/>
              <a:gd name="T9" fmla="*/ 2147483646 h 3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52" h="319">
                <a:moveTo>
                  <a:pt x="0" y="319"/>
                </a:moveTo>
                <a:cubicBezTo>
                  <a:pt x="252" y="67"/>
                  <a:pt x="252" y="67"/>
                  <a:pt x="252" y="67"/>
                </a:cubicBezTo>
                <a:cubicBezTo>
                  <a:pt x="183" y="30"/>
                  <a:pt x="105" y="6"/>
                  <a:pt x="23" y="1"/>
                </a:cubicBezTo>
                <a:cubicBezTo>
                  <a:pt x="11" y="0"/>
                  <a:pt x="0" y="10"/>
                  <a:pt x="0" y="22"/>
                </a:cubicBezTo>
                <a:lnTo>
                  <a:pt x="0" y="319"/>
                </a:lnTo>
                <a:close/>
              </a:path>
            </a:pathLst>
          </a:custGeom>
          <a:solidFill>
            <a:srgbClr val="FFA757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Freeform 29"/>
          <p:cNvSpPr>
            <a:spLocks noEditPoints="1"/>
          </p:cNvSpPr>
          <p:nvPr/>
        </p:nvSpPr>
        <p:spPr bwMode="auto">
          <a:xfrm>
            <a:off x="4753185" y="1648570"/>
            <a:ext cx="688354" cy="418493"/>
          </a:xfrm>
          <a:custGeom>
            <a:avLst/>
            <a:gdLst>
              <a:gd name="T0" fmla="*/ 2147483646 w 210"/>
              <a:gd name="T1" fmla="*/ 2147483646 h 140"/>
              <a:gd name="T2" fmla="*/ 2147483646 w 210"/>
              <a:gd name="T3" fmla="*/ 2147483646 h 140"/>
              <a:gd name="T4" fmla="*/ 2147483646 w 210"/>
              <a:gd name="T5" fmla="*/ 2147483646 h 140"/>
              <a:gd name="T6" fmla="*/ 2147483646 w 210"/>
              <a:gd name="T7" fmla="*/ 2147483646 h 140"/>
              <a:gd name="T8" fmla="*/ 2147483646 w 210"/>
              <a:gd name="T9" fmla="*/ 2147483646 h 140"/>
              <a:gd name="T10" fmla="*/ 2147483646 w 210"/>
              <a:gd name="T11" fmla="*/ 2147483646 h 140"/>
              <a:gd name="T12" fmla="*/ 2147483646 w 210"/>
              <a:gd name="T13" fmla="*/ 2147483646 h 140"/>
              <a:gd name="T14" fmla="*/ 2147483646 w 210"/>
              <a:gd name="T15" fmla="*/ 0 h 140"/>
              <a:gd name="T16" fmla="*/ 2147483646 w 210"/>
              <a:gd name="T17" fmla="*/ 2147483646 h 140"/>
              <a:gd name="T18" fmla="*/ 2147483646 w 210"/>
              <a:gd name="T19" fmla="*/ 2147483646 h 140"/>
              <a:gd name="T20" fmla="*/ 2147483646 w 210"/>
              <a:gd name="T21" fmla="*/ 2147483646 h 140"/>
              <a:gd name="T22" fmla="*/ 0 w 210"/>
              <a:gd name="T23" fmla="*/ 2147483646 h 140"/>
              <a:gd name="T24" fmla="*/ 2147483646 w 210"/>
              <a:gd name="T25" fmla="*/ 2147483646 h 140"/>
              <a:gd name="T26" fmla="*/ 2147483646 w 210"/>
              <a:gd name="T27" fmla="*/ 2147483646 h 140"/>
              <a:gd name="T28" fmla="*/ 2147483646 w 210"/>
              <a:gd name="T29" fmla="*/ 2147483646 h 140"/>
              <a:gd name="T30" fmla="*/ 2147483646 w 210"/>
              <a:gd name="T31" fmla="*/ 2147483646 h 140"/>
              <a:gd name="T32" fmla="*/ 2147483646 w 210"/>
              <a:gd name="T33" fmla="*/ 2147483646 h 140"/>
              <a:gd name="T34" fmla="*/ 2147483646 w 210"/>
              <a:gd name="T35" fmla="*/ 2147483646 h 140"/>
              <a:gd name="T36" fmla="*/ 2147483646 w 210"/>
              <a:gd name="T37" fmla="*/ 2147483646 h 140"/>
              <a:gd name="T38" fmla="*/ 2147483646 w 210"/>
              <a:gd name="T39" fmla="*/ 2147483646 h 140"/>
              <a:gd name="T40" fmla="*/ 2147483646 w 210"/>
              <a:gd name="T41" fmla="*/ 2147483646 h 140"/>
              <a:gd name="T42" fmla="*/ 2147483646 w 210"/>
              <a:gd name="T43" fmla="*/ 2147483646 h 140"/>
              <a:gd name="T44" fmla="*/ 2147483646 w 210"/>
              <a:gd name="T45" fmla="*/ 2147483646 h 140"/>
              <a:gd name="T46" fmla="*/ 2147483646 w 210"/>
              <a:gd name="T47" fmla="*/ 2147483646 h 140"/>
              <a:gd name="T48" fmla="*/ 2147483646 w 210"/>
              <a:gd name="T49" fmla="*/ 2147483646 h 140"/>
              <a:gd name="T50" fmla="*/ 2147483646 w 210"/>
              <a:gd name="T51" fmla="*/ 2147483646 h 140"/>
              <a:gd name="T52" fmla="*/ 2147483646 w 210"/>
              <a:gd name="T53" fmla="*/ 2147483646 h 140"/>
              <a:gd name="T54" fmla="*/ 2147483646 w 210"/>
              <a:gd name="T55" fmla="*/ 2147483646 h 140"/>
              <a:gd name="T56" fmla="*/ 2147483646 w 210"/>
              <a:gd name="T57" fmla="*/ 2147483646 h 140"/>
              <a:gd name="T58" fmla="*/ 2147483646 w 210"/>
              <a:gd name="T59" fmla="*/ 2147483646 h 140"/>
              <a:gd name="T60" fmla="*/ 2147483646 w 210"/>
              <a:gd name="T61" fmla="*/ 2147483646 h 140"/>
              <a:gd name="T62" fmla="*/ 2147483646 w 210"/>
              <a:gd name="T63" fmla="*/ 2147483646 h 140"/>
              <a:gd name="T64" fmla="*/ 2147483646 w 210"/>
              <a:gd name="T65" fmla="*/ 2147483646 h 140"/>
              <a:gd name="T66" fmla="*/ 2147483646 w 210"/>
              <a:gd name="T67" fmla="*/ 2147483646 h 140"/>
              <a:gd name="T68" fmla="*/ 2147483646 w 210"/>
              <a:gd name="T69" fmla="*/ 2147483646 h 140"/>
              <a:gd name="T70" fmla="*/ 2147483646 w 210"/>
              <a:gd name="T71" fmla="*/ 2147483646 h 140"/>
              <a:gd name="T72" fmla="*/ 2147483646 w 210"/>
              <a:gd name="T73" fmla="*/ 2147483646 h 140"/>
              <a:gd name="T74" fmla="*/ 2147483646 w 210"/>
              <a:gd name="T75" fmla="*/ 2147483646 h 140"/>
              <a:gd name="T76" fmla="*/ 2147483646 w 210"/>
              <a:gd name="T77" fmla="*/ 2147483646 h 140"/>
              <a:gd name="T78" fmla="*/ 2147483646 w 210"/>
              <a:gd name="T79" fmla="*/ 2147483646 h 140"/>
              <a:gd name="T80" fmla="*/ 2147483646 w 210"/>
              <a:gd name="T81" fmla="*/ 2147483646 h 140"/>
              <a:gd name="T82" fmla="*/ 2147483646 w 210"/>
              <a:gd name="T83" fmla="*/ 2147483646 h 140"/>
              <a:gd name="T84" fmla="*/ 2147483646 w 210"/>
              <a:gd name="T85" fmla="*/ 2147483646 h 140"/>
              <a:gd name="T86" fmla="*/ 2147483646 w 210"/>
              <a:gd name="T87" fmla="*/ 2147483646 h 140"/>
              <a:gd name="T88" fmla="*/ 2147483646 w 210"/>
              <a:gd name="T89" fmla="*/ 2147483646 h 140"/>
              <a:gd name="T90" fmla="*/ 2147483646 w 210"/>
              <a:gd name="T91" fmla="*/ 2147483646 h 14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10" h="140">
                <a:moveTo>
                  <a:pt x="167" y="13"/>
                </a:moveTo>
                <a:cubicBezTo>
                  <a:pt x="187" y="62"/>
                  <a:pt x="187" y="62"/>
                  <a:pt x="187" y="62"/>
                </a:cubicBezTo>
                <a:cubicBezTo>
                  <a:pt x="162" y="72"/>
                  <a:pt x="162" y="72"/>
                  <a:pt x="162" y="72"/>
                </a:cubicBezTo>
                <a:cubicBezTo>
                  <a:pt x="150" y="61"/>
                  <a:pt x="110" y="27"/>
                  <a:pt x="107" y="27"/>
                </a:cubicBezTo>
                <a:cubicBezTo>
                  <a:pt x="104" y="27"/>
                  <a:pt x="92" y="31"/>
                  <a:pt x="90" y="32"/>
                </a:cubicBezTo>
                <a:cubicBezTo>
                  <a:pt x="90" y="32"/>
                  <a:pt x="83" y="34"/>
                  <a:pt x="76" y="34"/>
                </a:cubicBezTo>
                <a:cubicBezTo>
                  <a:pt x="73" y="34"/>
                  <a:pt x="71" y="33"/>
                  <a:pt x="70" y="32"/>
                </a:cubicBezTo>
                <a:cubicBezTo>
                  <a:pt x="68" y="31"/>
                  <a:pt x="67" y="30"/>
                  <a:pt x="67" y="29"/>
                </a:cubicBezTo>
                <a:cubicBezTo>
                  <a:pt x="67" y="26"/>
                  <a:pt x="70" y="24"/>
                  <a:pt x="72" y="23"/>
                </a:cubicBezTo>
                <a:cubicBezTo>
                  <a:pt x="82" y="18"/>
                  <a:pt x="110" y="7"/>
                  <a:pt x="113" y="7"/>
                </a:cubicBezTo>
                <a:cubicBezTo>
                  <a:pt x="113" y="7"/>
                  <a:pt x="113" y="7"/>
                  <a:pt x="113" y="7"/>
                </a:cubicBezTo>
                <a:cubicBezTo>
                  <a:pt x="120" y="7"/>
                  <a:pt x="162" y="13"/>
                  <a:pt x="167" y="13"/>
                </a:cubicBezTo>
                <a:close/>
                <a:moveTo>
                  <a:pt x="185" y="0"/>
                </a:moveTo>
                <a:cubicBezTo>
                  <a:pt x="184" y="0"/>
                  <a:pt x="183" y="0"/>
                  <a:pt x="183" y="0"/>
                </a:cubicBezTo>
                <a:cubicBezTo>
                  <a:pt x="175" y="3"/>
                  <a:pt x="175" y="3"/>
                  <a:pt x="175" y="3"/>
                </a:cubicBezTo>
                <a:cubicBezTo>
                  <a:pt x="173" y="4"/>
                  <a:pt x="172" y="5"/>
                  <a:pt x="172" y="6"/>
                </a:cubicBezTo>
                <a:cubicBezTo>
                  <a:pt x="171" y="7"/>
                  <a:pt x="171" y="9"/>
                  <a:pt x="171" y="10"/>
                </a:cubicBezTo>
                <a:cubicBezTo>
                  <a:pt x="192" y="61"/>
                  <a:pt x="192" y="61"/>
                  <a:pt x="192" y="61"/>
                </a:cubicBezTo>
                <a:cubicBezTo>
                  <a:pt x="193" y="64"/>
                  <a:pt x="196" y="66"/>
                  <a:pt x="199" y="64"/>
                </a:cubicBezTo>
                <a:cubicBezTo>
                  <a:pt x="207" y="61"/>
                  <a:pt x="207" y="61"/>
                  <a:pt x="207" y="61"/>
                </a:cubicBezTo>
                <a:cubicBezTo>
                  <a:pt x="208" y="61"/>
                  <a:pt x="209" y="60"/>
                  <a:pt x="210" y="58"/>
                </a:cubicBezTo>
                <a:cubicBezTo>
                  <a:pt x="210" y="57"/>
                  <a:pt x="210" y="56"/>
                  <a:pt x="210" y="54"/>
                </a:cubicBezTo>
                <a:cubicBezTo>
                  <a:pt x="190" y="3"/>
                  <a:pt x="190" y="3"/>
                  <a:pt x="190" y="3"/>
                </a:cubicBezTo>
                <a:cubicBezTo>
                  <a:pt x="189" y="1"/>
                  <a:pt x="187" y="0"/>
                  <a:pt x="185" y="0"/>
                </a:cubicBezTo>
                <a:close/>
                <a:moveTo>
                  <a:pt x="0" y="70"/>
                </a:moveTo>
                <a:cubicBezTo>
                  <a:pt x="0" y="71"/>
                  <a:pt x="1" y="73"/>
                  <a:pt x="2" y="74"/>
                </a:cubicBezTo>
                <a:cubicBezTo>
                  <a:pt x="2" y="75"/>
                  <a:pt x="4" y="75"/>
                  <a:pt x="5" y="76"/>
                </a:cubicBezTo>
                <a:cubicBezTo>
                  <a:pt x="14" y="76"/>
                  <a:pt x="14" y="76"/>
                  <a:pt x="14" y="76"/>
                </a:cubicBezTo>
                <a:cubicBezTo>
                  <a:pt x="17" y="76"/>
                  <a:pt x="20" y="74"/>
                  <a:pt x="20" y="71"/>
                </a:cubicBezTo>
                <a:cubicBezTo>
                  <a:pt x="24" y="14"/>
                  <a:pt x="24" y="14"/>
                  <a:pt x="24" y="14"/>
                </a:cubicBezTo>
                <a:cubicBezTo>
                  <a:pt x="24" y="12"/>
                  <a:pt x="24" y="11"/>
                  <a:pt x="23" y="10"/>
                </a:cubicBezTo>
                <a:cubicBezTo>
                  <a:pt x="22" y="9"/>
                  <a:pt x="20" y="8"/>
                  <a:pt x="19" y="8"/>
                </a:cubicBezTo>
                <a:cubicBezTo>
                  <a:pt x="10" y="7"/>
                  <a:pt x="10" y="7"/>
                  <a:pt x="10" y="7"/>
                </a:cubicBezTo>
                <a:cubicBezTo>
                  <a:pt x="10" y="7"/>
                  <a:pt x="10" y="7"/>
                  <a:pt x="10" y="7"/>
                </a:cubicBezTo>
                <a:cubicBezTo>
                  <a:pt x="7" y="7"/>
                  <a:pt x="5" y="9"/>
                  <a:pt x="5" y="12"/>
                </a:cubicBezTo>
                <a:lnTo>
                  <a:pt x="0" y="70"/>
                </a:lnTo>
                <a:close/>
                <a:moveTo>
                  <a:pt x="87" y="121"/>
                </a:moveTo>
                <a:cubicBezTo>
                  <a:pt x="86" y="119"/>
                  <a:pt x="85" y="117"/>
                  <a:pt x="83" y="116"/>
                </a:cubicBezTo>
                <a:cubicBezTo>
                  <a:pt x="80" y="113"/>
                  <a:pt x="76" y="113"/>
                  <a:pt x="73" y="117"/>
                </a:cubicBezTo>
                <a:cubicBezTo>
                  <a:pt x="69" y="122"/>
                  <a:pt x="69" y="122"/>
                  <a:pt x="69" y="122"/>
                </a:cubicBezTo>
                <a:cubicBezTo>
                  <a:pt x="68" y="123"/>
                  <a:pt x="68" y="123"/>
                  <a:pt x="68" y="123"/>
                </a:cubicBezTo>
                <a:cubicBezTo>
                  <a:pt x="65" y="127"/>
                  <a:pt x="65" y="127"/>
                  <a:pt x="65" y="127"/>
                </a:cubicBezTo>
                <a:cubicBezTo>
                  <a:pt x="60" y="132"/>
                  <a:pt x="65" y="137"/>
                  <a:pt x="66" y="138"/>
                </a:cubicBezTo>
                <a:cubicBezTo>
                  <a:pt x="68" y="139"/>
                  <a:pt x="69" y="140"/>
                  <a:pt x="71" y="140"/>
                </a:cubicBezTo>
                <a:cubicBezTo>
                  <a:pt x="73" y="140"/>
                  <a:pt x="75" y="139"/>
                  <a:pt x="77" y="137"/>
                </a:cubicBezTo>
                <a:cubicBezTo>
                  <a:pt x="83" y="130"/>
                  <a:pt x="83" y="130"/>
                  <a:pt x="83" y="130"/>
                </a:cubicBezTo>
                <a:cubicBezTo>
                  <a:pt x="83" y="130"/>
                  <a:pt x="83" y="130"/>
                  <a:pt x="83" y="130"/>
                </a:cubicBezTo>
                <a:cubicBezTo>
                  <a:pt x="85" y="127"/>
                  <a:pt x="85" y="127"/>
                  <a:pt x="85" y="127"/>
                </a:cubicBezTo>
                <a:cubicBezTo>
                  <a:pt x="86" y="125"/>
                  <a:pt x="87" y="123"/>
                  <a:pt x="87" y="121"/>
                </a:cubicBezTo>
                <a:close/>
                <a:moveTo>
                  <a:pt x="46" y="118"/>
                </a:moveTo>
                <a:cubicBezTo>
                  <a:pt x="43" y="121"/>
                  <a:pt x="44" y="124"/>
                  <a:pt x="48" y="128"/>
                </a:cubicBezTo>
                <a:cubicBezTo>
                  <a:pt x="52" y="131"/>
                  <a:pt x="55" y="130"/>
                  <a:pt x="59" y="126"/>
                </a:cubicBezTo>
                <a:cubicBezTo>
                  <a:pt x="69" y="114"/>
                  <a:pt x="69" y="114"/>
                  <a:pt x="69" y="114"/>
                </a:cubicBezTo>
                <a:cubicBezTo>
                  <a:pt x="73" y="109"/>
                  <a:pt x="69" y="104"/>
                  <a:pt x="67" y="103"/>
                </a:cubicBezTo>
                <a:cubicBezTo>
                  <a:pt x="64" y="100"/>
                  <a:pt x="60" y="101"/>
                  <a:pt x="57" y="105"/>
                </a:cubicBezTo>
                <a:cubicBezTo>
                  <a:pt x="51" y="111"/>
                  <a:pt x="51" y="111"/>
                  <a:pt x="51" y="111"/>
                </a:cubicBezTo>
                <a:cubicBezTo>
                  <a:pt x="51" y="111"/>
                  <a:pt x="51" y="111"/>
                  <a:pt x="51" y="111"/>
                </a:cubicBezTo>
                <a:cubicBezTo>
                  <a:pt x="51" y="112"/>
                  <a:pt x="51" y="112"/>
                  <a:pt x="51" y="112"/>
                </a:cubicBezTo>
                <a:lnTo>
                  <a:pt x="46" y="118"/>
                </a:lnTo>
                <a:close/>
                <a:moveTo>
                  <a:pt x="31" y="103"/>
                </a:moveTo>
                <a:cubicBezTo>
                  <a:pt x="30" y="105"/>
                  <a:pt x="29" y="107"/>
                  <a:pt x="29" y="109"/>
                </a:cubicBezTo>
                <a:cubicBezTo>
                  <a:pt x="30" y="111"/>
                  <a:pt x="31" y="113"/>
                  <a:pt x="33" y="114"/>
                </a:cubicBezTo>
                <a:cubicBezTo>
                  <a:pt x="36" y="117"/>
                  <a:pt x="40" y="117"/>
                  <a:pt x="43" y="113"/>
                </a:cubicBezTo>
                <a:cubicBezTo>
                  <a:pt x="54" y="100"/>
                  <a:pt x="54" y="100"/>
                  <a:pt x="54" y="100"/>
                </a:cubicBezTo>
                <a:cubicBezTo>
                  <a:pt x="56" y="98"/>
                  <a:pt x="56" y="96"/>
                  <a:pt x="56" y="94"/>
                </a:cubicBezTo>
                <a:cubicBezTo>
                  <a:pt x="56" y="92"/>
                  <a:pt x="55" y="90"/>
                  <a:pt x="53" y="89"/>
                </a:cubicBezTo>
                <a:cubicBezTo>
                  <a:pt x="49" y="86"/>
                  <a:pt x="45" y="86"/>
                  <a:pt x="42" y="90"/>
                </a:cubicBezTo>
                <a:cubicBezTo>
                  <a:pt x="37" y="97"/>
                  <a:pt x="37" y="97"/>
                  <a:pt x="37" y="97"/>
                </a:cubicBezTo>
                <a:cubicBezTo>
                  <a:pt x="37" y="97"/>
                  <a:pt x="37" y="97"/>
                  <a:pt x="37" y="97"/>
                </a:cubicBezTo>
                <a:cubicBezTo>
                  <a:pt x="36" y="97"/>
                  <a:pt x="36" y="97"/>
                  <a:pt x="36" y="97"/>
                </a:cubicBezTo>
                <a:lnTo>
                  <a:pt x="31" y="103"/>
                </a:lnTo>
                <a:close/>
                <a:moveTo>
                  <a:pt x="29" y="98"/>
                </a:moveTo>
                <a:cubicBezTo>
                  <a:pt x="40" y="85"/>
                  <a:pt x="40" y="85"/>
                  <a:pt x="40" y="85"/>
                </a:cubicBezTo>
                <a:cubicBezTo>
                  <a:pt x="44" y="80"/>
                  <a:pt x="40" y="75"/>
                  <a:pt x="38" y="74"/>
                </a:cubicBezTo>
                <a:cubicBezTo>
                  <a:pt x="35" y="71"/>
                  <a:pt x="31" y="72"/>
                  <a:pt x="28" y="76"/>
                </a:cubicBezTo>
                <a:cubicBezTo>
                  <a:pt x="24" y="80"/>
                  <a:pt x="24" y="80"/>
                  <a:pt x="24" y="80"/>
                </a:cubicBezTo>
                <a:cubicBezTo>
                  <a:pt x="24" y="80"/>
                  <a:pt x="24" y="80"/>
                  <a:pt x="24" y="80"/>
                </a:cubicBezTo>
                <a:cubicBezTo>
                  <a:pt x="24" y="81"/>
                  <a:pt x="24" y="81"/>
                  <a:pt x="24" y="81"/>
                </a:cubicBezTo>
                <a:cubicBezTo>
                  <a:pt x="19" y="87"/>
                  <a:pt x="19" y="87"/>
                  <a:pt x="19" y="87"/>
                </a:cubicBezTo>
                <a:cubicBezTo>
                  <a:pt x="17" y="89"/>
                  <a:pt x="16" y="91"/>
                  <a:pt x="16" y="93"/>
                </a:cubicBezTo>
                <a:cubicBezTo>
                  <a:pt x="16" y="95"/>
                  <a:pt x="18" y="96"/>
                  <a:pt x="19" y="97"/>
                </a:cubicBezTo>
                <a:cubicBezTo>
                  <a:pt x="20" y="99"/>
                  <a:pt x="22" y="100"/>
                  <a:pt x="25" y="100"/>
                </a:cubicBezTo>
                <a:cubicBezTo>
                  <a:pt x="26" y="100"/>
                  <a:pt x="27" y="100"/>
                  <a:pt x="29" y="98"/>
                </a:cubicBezTo>
                <a:close/>
                <a:moveTo>
                  <a:pt x="159" y="87"/>
                </a:moveTo>
                <a:cubicBezTo>
                  <a:pt x="162" y="84"/>
                  <a:pt x="163" y="80"/>
                  <a:pt x="158" y="76"/>
                </a:cubicBezTo>
                <a:cubicBezTo>
                  <a:pt x="154" y="72"/>
                  <a:pt x="154" y="72"/>
                  <a:pt x="154" y="72"/>
                </a:cubicBezTo>
                <a:cubicBezTo>
                  <a:pt x="135" y="55"/>
                  <a:pt x="111" y="35"/>
                  <a:pt x="106" y="32"/>
                </a:cubicBezTo>
                <a:cubicBezTo>
                  <a:pt x="104" y="33"/>
                  <a:pt x="97" y="35"/>
                  <a:pt x="92" y="37"/>
                </a:cubicBezTo>
                <a:cubicBezTo>
                  <a:pt x="92" y="37"/>
                  <a:pt x="92" y="37"/>
                  <a:pt x="92" y="37"/>
                </a:cubicBezTo>
                <a:cubicBezTo>
                  <a:pt x="92" y="37"/>
                  <a:pt x="84" y="39"/>
                  <a:pt x="76" y="39"/>
                </a:cubicBezTo>
                <a:cubicBezTo>
                  <a:pt x="72" y="39"/>
                  <a:pt x="69" y="38"/>
                  <a:pt x="67" y="37"/>
                </a:cubicBezTo>
                <a:cubicBezTo>
                  <a:pt x="63" y="34"/>
                  <a:pt x="62" y="31"/>
                  <a:pt x="62" y="29"/>
                </a:cubicBezTo>
                <a:cubicBezTo>
                  <a:pt x="62" y="24"/>
                  <a:pt x="66" y="21"/>
                  <a:pt x="69" y="19"/>
                </a:cubicBezTo>
                <a:cubicBezTo>
                  <a:pt x="29" y="14"/>
                  <a:pt x="29" y="14"/>
                  <a:pt x="29" y="14"/>
                </a:cubicBezTo>
                <a:cubicBezTo>
                  <a:pt x="25" y="71"/>
                  <a:pt x="25" y="71"/>
                  <a:pt x="25" y="71"/>
                </a:cubicBezTo>
                <a:cubicBezTo>
                  <a:pt x="28" y="68"/>
                  <a:pt x="31" y="67"/>
                  <a:pt x="34" y="67"/>
                </a:cubicBezTo>
                <a:cubicBezTo>
                  <a:pt x="36" y="67"/>
                  <a:pt x="39" y="68"/>
                  <a:pt x="41" y="70"/>
                </a:cubicBezTo>
                <a:cubicBezTo>
                  <a:pt x="45" y="74"/>
                  <a:pt x="47" y="78"/>
                  <a:pt x="47" y="82"/>
                </a:cubicBezTo>
                <a:cubicBezTo>
                  <a:pt x="50" y="81"/>
                  <a:pt x="53" y="82"/>
                  <a:pt x="56" y="85"/>
                </a:cubicBezTo>
                <a:cubicBezTo>
                  <a:pt x="60" y="88"/>
                  <a:pt x="62" y="92"/>
                  <a:pt x="61" y="96"/>
                </a:cubicBezTo>
                <a:cubicBezTo>
                  <a:pt x="64" y="96"/>
                  <a:pt x="68" y="97"/>
                  <a:pt x="70" y="99"/>
                </a:cubicBezTo>
                <a:cubicBezTo>
                  <a:pt x="74" y="102"/>
                  <a:pt x="76" y="106"/>
                  <a:pt x="76" y="109"/>
                </a:cubicBezTo>
                <a:cubicBezTo>
                  <a:pt x="79" y="108"/>
                  <a:pt x="83" y="109"/>
                  <a:pt x="86" y="112"/>
                </a:cubicBezTo>
                <a:cubicBezTo>
                  <a:pt x="91" y="116"/>
                  <a:pt x="93" y="121"/>
                  <a:pt x="91" y="126"/>
                </a:cubicBezTo>
                <a:cubicBezTo>
                  <a:pt x="94" y="129"/>
                  <a:pt x="94" y="129"/>
                  <a:pt x="94" y="129"/>
                </a:cubicBezTo>
                <a:cubicBezTo>
                  <a:pt x="95" y="129"/>
                  <a:pt x="95" y="129"/>
                  <a:pt x="95" y="129"/>
                </a:cubicBezTo>
                <a:cubicBezTo>
                  <a:pt x="95" y="129"/>
                  <a:pt x="95" y="129"/>
                  <a:pt x="95" y="129"/>
                </a:cubicBezTo>
                <a:cubicBezTo>
                  <a:pt x="97" y="130"/>
                  <a:pt x="98" y="131"/>
                  <a:pt x="99" y="131"/>
                </a:cubicBezTo>
                <a:cubicBezTo>
                  <a:pt x="102" y="131"/>
                  <a:pt x="104" y="129"/>
                  <a:pt x="105" y="128"/>
                </a:cubicBezTo>
                <a:cubicBezTo>
                  <a:pt x="107" y="125"/>
                  <a:pt x="109" y="123"/>
                  <a:pt x="106" y="120"/>
                </a:cubicBezTo>
                <a:cubicBezTo>
                  <a:pt x="105" y="119"/>
                  <a:pt x="105" y="119"/>
                  <a:pt x="105" y="119"/>
                </a:cubicBezTo>
                <a:cubicBezTo>
                  <a:pt x="88" y="104"/>
                  <a:pt x="88" y="104"/>
                  <a:pt x="88" y="104"/>
                </a:cubicBezTo>
                <a:cubicBezTo>
                  <a:pt x="87" y="104"/>
                  <a:pt x="87" y="103"/>
                  <a:pt x="87" y="102"/>
                </a:cubicBezTo>
                <a:cubicBezTo>
                  <a:pt x="87" y="102"/>
                  <a:pt x="87" y="101"/>
                  <a:pt x="87" y="100"/>
                </a:cubicBezTo>
                <a:cubicBezTo>
                  <a:pt x="88" y="99"/>
                  <a:pt x="90" y="99"/>
                  <a:pt x="91" y="100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6" y="120"/>
                  <a:pt x="117" y="121"/>
                  <a:pt x="119" y="121"/>
                </a:cubicBezTo>
                <a:cubicBezTo>
                  <a:pt x="121" y="121"/>
                  <a:pt x="123" y="120"/>
                  <a:pt x="125" y="117"/>
                </a:cubicBezTo>
                <a:cubicBezTo>
                  <a:pt x="126" y="116"/>
                  <a:pt x="127" y="114"/>
                  <a:pt x="127" y="112"/>
                </a:cubicBezTo>
                <a:cubicBezTo>
                  <a:pt x="127" y="110"/>
                  <a:pt x="125" y="108"/>
                  <a:pt x="123" y="106"/>
                </a:cubicBezTo>
                <a:cubicBezTo>
                  <a:pt x="121" y="104"/>
                  <a:pt x="121" y="104"/>
                  <a:pt x="121" y="104"/>
                </a:cubicBezTo>
                <a:cubicBezTo>
                  <a:pt x="121" y="104"/>
                  <a:pt x="121" y="104"/>
                  <a:pt x="121" y="104"/>
                </a:cubicBezTo>
                <a:cubicBezTo>
                  <a:pt x="108" y="93"/>
                  <a:pt x="108" y="93"/>
                  <a:pt x="108" y="93"/>
                </a:cubicBezTo>
                <a:cubicBezTo>
                  <a:pt x="107" y="93"/>
                  <a:pt x="107" y="92"/>
                  <a:pt x="107" y="91"/>
                </a:cubicBezTo>
                <a:cubicBezTo>
                  <a:pt x="107" y="91"/>
                  <a:pt x="107" y="90"/>
                  <a:pt x="107" y="89"/>
                </a:cubicBezTo>
                <a:cubicBezTo>
                  <a:pt x="108" y="88"/>
                  <a:pt x="110" y="88"/>
                  <a:pt x="111" y="89"/>
                </a:cubicBezTo>
                <a:cubicBezTo>
                  <a:pt x="133" y="106"/>
                  <a:pt x="133" y="106"/>
                  <a:pt x="133" y="106"/>
                </a:cubicBezTo>
                <a:cubicBezTo>
                  <a:pt x="134" y="107"/>
                  <a:pt x="136" y="108"/>
                  <a:pt x="137" y="108"/>
                </a:cubicBezTo>
                <a:cubicBezTo>
                  <a:pt x="140" y="108"/>
                  <a:pt x="143" y="107"/>
                  <a:pt x="145" y="104"/>
                </a:cubicBezTo>
                <a:cubicBezTo>
                  <a:pt x="146" y="102"/>
                  <a:pt x="147" y="100"/>
                  <a:pt x="147" y="99"/>
                </a:cubicBezTo>
                <a:cubicBezTo>
                  <a:pt x="147" y="97"/>
                  <a:pt x="145" y="95"/>
                  <a:pt x="143" y="93"/>
                </a:cubicBezTo>
                <a:cubicBezTo>
                  <a:pt x="137" y="88"/>
                  <a:pt x="137" y="88"/>
                  <a:pt x="137" y="88"/>
                </a:cubicBezTo>
                <a:cubicBezTo>
                  <a:pt x="137" y="88"/>
                  <a:pt x="137" y="88"/>
                  <a:pt x="137" y="88"/>
                </a:cubicBezTo>
                <a:cubicBezTo>
                  <a:pt x="126" y="79"/>
                  <a:pt x="126" y="79"/>
                  <a:pt x="126" y="79"/>
                </a:cubicBezTo>
                <a:cubicBezTo>
                  <a:pt x="125" y="78"/>
                  <a:pt x="125" y="76"/>
                  <a:pt x="126" y="75"/>
                </a:cubicBezTo>
                <a:cubicBezTo>
                  <a:pt x="127" y="74"/>
                  <a:pt x="128" y="74"/>
                  <a:pt x="130" y="74"/>
                </a:cubicBezTo>
                <a:cubicBezTo>
                  <a:pt x="148" y="89"/>
                  <a:pt x="148" y="89"/>
                  <a:pt x="148" y="89"/>
                </a:cubicBezTo>
                <a:cubicBezTo>
                  <a:pt x="151" y="92"/>
                  <a:pt x="156" y="91"/>
                  <a:pt x="159" y="8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Freeform 31"/>
          <p:cNvSpPr>
            <a:spLocks noEditPoints="1"/>
          </p:cNvSpPr>
          <p:nvPr/>
        </p:nvSpPr>
        <p:spPr bwMode="auto">
          <a:xfrm>
            <a:off x="4012684" y="1591311"/>
            <a:ext cx="498705" cy="408910"/>
          </a:xfrm>
          <a:custGeom>
            <a:avLst/>
            <a:gdLst>
              <a:gd name="T0" fmla="*/ 2147483646 w 152"/>
              <a:gd name="T1" fmla="*/ 2147483646 h 137"/>
              <a:gd name="T2" fmla="*/ 2147483646 w 152"/>
              <a:gd name="T3" fmla="*/ 2147483646 h 137"/>
              <a:gd name="T4" fmla="*/ 2147483646 w 152"/>
              <a:gd name="T5" fmla="*/ 2147483646 h 137"/>
              <a:gd name="T6" fmla="*/ 2147483646 w 152"/>
              <a:gd name="T7" fmla="*/ 0 h 137"/>
              <a:gd name="T8" fmla="*/ 2147483646 w 152"/>
              <a:gd name="T9" fmla="*/ 2147483646 h 137"/>
              <a:gd name="T10" fmla="*/ 2147483646 w 152"/>
              <a:gd name="T11" fmla="*/ 2147483646 h 137"/>
              <a:gd name="T12" fmla="*/ 2147483646 w 152"/>
              <a:gd name="T13" fmla="*/ 2147483646 h 137"/>
              <a:gd name="T14" fmla="*/ 2147483646 w 152"/>
              <a:gd name="T15" fmla="*/ 2147483646 h 137"/>
              <a:gd name="T16" fmla="*/ 2147483646 w 152"/>
              <a:gd name="T17" fmla="*/ 2147483646 h 137"/>
              <a:gd name="T18" fmla="*/ 2147483646 w 152"/>
              <a:gd name="T19" fmla="*/ 2147483646 h 137"/>
              <a:gd name="T20" fmla="*/ 2147483646 w 152"/>
              <a:gd name="T21" fmla="*/ 2147483646 h 137"/>
              <a:gd name="T22" fmla="*/ 2147483646 w 152"/>
              <a:gd name="T23" fmla="*/ 2147483646 h 137"/>
              <a:gd name="T24" fmla="*/ 2147483646 w 152"/>
              <a:gd name="T25" fmla="*/ 2147483646 h 137"/>
              <a:gd name="T26" fmla="*/ 2147483646 w 152"/>
              <a:gd name="T27" fmla="*/ 2147483646 h 137"/>
              <a:gd name="T28" fmla="*/ 2147483646 w 152"/>
              <a:gd name="T29" fmla="*/ 2147483646 h 137"/>
              <a:gd name="T30" fmla="*/ 2147483646 w 152"/>
              <a:gd name="T31" fmla="*/ 2147483646 h 137"/>
              <a:gd name="T32" fmla="*/ 0 w 152"/>
              <a:gd name="T33" fmla="*/ 2147483646 h 137"/>
              <a:gd name="T34" fmla="*/ 2147483646 w 152"/>
              <a:gd name="T35" fmla="*/ 2147483646 h 137"/>
              <a:gd name="T36" fmla="*/ 2147483646 w 152"/>
              <a:gd name="T37" fmla="*/ 2147483646 h 137"/>
              <a:gd name="T38" fmla="*/ 2147483646 w 152"/>
              <a:gd name="T39" fmla="*/ 2147483646 h 137"/>
              <a:gd name="T40" fmla="*/ 2147483646 w 152"/>
              <a:gd name="T41" fmla="*/ 2147483646 h 137"/>
              <a:gd name="T42" fmla="*/ 0 w 152"/>
              <a:gd name="T43" fmla="*/ 2147483646 h 137"/>
              <a:gd name="T44" fmla="*/ 2147483646 w 152"/>
              <a:gd name="T45" fmla="*/ 2147483646 h 137"/>
              <a:gd name="T46" fmla="*/ 2147483646 w 152"/>
              <a:gd name="T47" fmla="*/ 2147483646 h 137"/>
              <a:gd name="T48" fmla="*/ 2147483646 w 152"/>
              <a:gd name="T49" fmla="*/ 2147483646 h 137"/>
              <a:gd name="T50" fmla="*/ 2147483646 w 152"/>
              <a:gd name="T51" fmla="*/ 2147483646 h 137"/>
              <a:gd name="T52" fmla="*/ 2147483646 w 152"/>
              <a:gd name="T53" fmla="*/ 2147483646 h 137"/>
              <a:gd name="T54" fmla="*/ 2147483646 w 152"/>
              <a:gd name="T55" fmla="*/ 2147483646 h 137"/>
              <a:gd name="T56" fmla="*/ 2147483646 w 152"/>
              <a:gd name="T57" fmla="*/ 2147483646 h 137"/>
              <a:gd name="T58" fmla="*/ 2147483646 w 152"/>
              <a:gd name="T59" fmla="*/ 2147483646 h 137"/>
              <a:gd name="T60" fmla="*/ 2147483646 w 152"/>
              <a:gd name="T61" fmla="*/ 2147483646 h 137"/>
              <a:gd name="T62" fmla="*/ 2147483646 w 152"/>
              <a:gd name="T63" fmla="*/ 2147483646 h 137"/>
              <a:gd name="T64" fmla="*/ 2147483646 w 152"/>
              <a:gd name="T65" fmla="*/ 2147483646 h 137"/>
              <a:gd name="T66" fmla="*/ 2147483646 w 152"/>
              <a:gd name="T67" fmla="*/ 2147483646 h 137"/>
              <a:gd name="T68" fmla="*/ 2147483646 w 152"/>
              <a:gd name="T69" fmla="*/ 2147483646 h 137"/>
              <a:gd name="T70" fmla="*/ 2147483646 w 152"/>
              <a:gd name="T71" fmla="*/ 2147483646 h 1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52" h="137">
                <a:moveTo>
                  <a:pt x="104" y="19"/>
                </a:moveTo>
                <a:cubicBezTo>
                  <a:pt x="95" y="19"/>
                  <a:pt x="95" y="19"/>
                  <a:pt x="95" y="19"/>
                </a:cubicBezTo>
                <a:cubicBezTo>
                  <a:pt x="94" y="13"/>
                  <a:pt x="90" y="9"/>
                  <a:pt x="85" y="9"/>
                </a:cubicBezTo>
                <a:cubicBezTo>
                  <a:pt x="68" y="9"/>
                  <a:pt x="68" y="9"/>
                  <a:pt x="68" y="9"/>
                </a:cubicBezTo>
                <a:cubicBezTo>
                  <a:pt x="63" y="9"/>
                  <a:pt x="59" y="13"/>
                  <a:pt x="58" y="19"/>
                </a:cubicBezTo>
                <a:cubicBezTo>
                  <a:pt x="49" y="19"/>
                  <a:pt x="49" y="19"/>
                  <a:pt x="49" y="19"/>
                </a:cubicBezTo>
                <a:cubicBezTo>
                  <a:pt x="49" y="9"/>
                  <a:pt x="57" y="0"/>
                  <a:pt x="65" y="0"/>
                </a:cubicBezTo>
                <a:cubicBezTo>
                  <a:pt x="87" y="0"/>
                  <a:pt x="87" y="0"/>
                  <a:pt x="87" y="0"/>
                </a:cubicBezTo>
                <a:cubicBezTo>
                  <a:pt x="96" y="0"/>
                  <a:pt x="103" y="9"/>
                  <a:pt x="104" y="19"/>
                </a:cubicBezTo>
                <a:close/>
                <a:moveTo>
                  <a:pt x="23" y="76"/>
                </a:moveTo>
                <a:cubicBezTo>
                  <a:pt x="62" y="76"/>
                  <a:pt x="62" y="76"/>
                  <a:pt x="62" y="76"/>
                </a:cubicBezTo>
                <a:cubicBezTo>
                  <a:pt x="62" y="71"/>
                  <a:pt x="62" y="71"/>
                  <a:pt x="62" y="71"/>
                </a:cubicBezTo>
                <a:cubicBezTo>
                  <a:pt x="62" y="67"/>
                  <a:pt x="65" y="63"/>
                  <a:pt x="69" y="63"/>
                </a:cubicBezTo>
                <a:cubicBezTo>
                  <a:pt x="84" y="63"/>
                  <a:pt x="84" y="63"/>
                  <a:pt x="84" y="63"/>
                </a:cubicBezTo>
                <a:cubicBezTo>
                  <a:pt x="88" y="63"/>
                  <a:pt x="91" y="67"/>
                  <a:pt x="91" y="71"/>
                </a:cubicBezTo>
                <a:cubicBezTo>
                  <a:pt x="91" y="76"/>
                  <a:pt x="91" y="76"/>
                  <a:pt x="91" y="76"/>
                </a:cubicBezTo>
                <a:cubicBezTo>
                  <a:pt x="129" y="76"/>
                  <a:pt x="129" y="76"/>
                  <a:pt x="129" y="76"/>
                </a:cubicBezTo>
                <a:cubicBezTo>
                  <a:pt x="141" y="76"/>
                  <a:pt x="150" y="67"/>
                  <a:pt x="152" y="55"/>
                </a:cubicBezTo>
                <a:cubicBezTo>
                  <a:pt x="152" y="43"/>
                  <a:pt x="152" y="43"/>
                  <a:pt x="152" y="43"/>
                </a:cubicBezTo>
                <a:cubicBezTo>
                  <a:pt x="152" y="32"/>
                  <a:pt x="144" y="23"/>
                  <a:pt x="134" y="23"/>
                </a:cubicBezTo>
                <a:cubicBezTo>
                  <a:pt x="126" y="23"/>
                  <a:pt x="126" y="23"/>
                  <a:pt x="126" y="23"/>
                </a:cubicBezTo>
                <a:cubicBezTo>
                  <a:pt x="122" y="23"/>
                  <a:pt x="122" y="23"/>
                  <a:pt x="122" y="23"/>
                </a:cubicBezTo>
                <a:cubicBezTo>
                  <a:pt x="116" y="23"/>
                  <a:pt x="116" y="23"/>
                  <a:pt x="116" y="23"/>
                </a:cubicBezTo>
                <a:cubicBezTo>
                  <a:pt x="109" y="23"/>
                  <a:pt x="109" y="23"/>
                  <a:pt x="109" y="23"/>
                </a:cubicBezTo>
                <a:cubicBezTo>
                  <a:pt x="104" y="23"/>
                  <a:pt x="104" y="23"/>
                  <a:pt x="104" y="23"/>
                </a:cubicBezTo>
                <a:cubicBezTo>
                  <a:pt x="94" y="23"/>
                  <a:pt x="94" y="23"/>
                  <a:pt x="94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48" y="23"/>
                  <a:pt x="48" y="23"/>
                  <a:pt x="48" y="23"/>
                </a:cubicBezTo>
                <a:cubicBezTo>
                  <a:pt x="36" y="23"/>
                  <a:pt x="36" y="23"/>
                  <a:pt x="36" y="23"/>
                </a:cubicBezTo>
                <a:cubicBezTo>
                  <a:pt x="29" y="23"/>
                  <a:pt x="29" y="23"/>
                  <a:pt x="29" y="23"/>
                </a:cubicBezTo>
                <a:cubicBezTo>
                  <a:pt x="24" y="23"/>
                  <a:pt x="24" y="23"/>
                  <a:pt x="24" y="23"/>
                </a:cubicBezTo>
                <a:cubicBezTo>
                  <a:pt x="18" y="23"/>
                  <a:pt x="18" y="23"/>
                  <a:pt x="18" y="23"/>
                </a:cubicBezTo>
                <a:cubicBezTo>
                  <a:pt x="8" y="23"/>
                  <a:pt x="0" y="32"/>
                  <a:pt x="0" y="43"/>
                </a:cubicBezTo>
                <a:cubicBezTo>
                  <a:pt x="0" y="55"/>
                  <a:pt x="0" y="55"/>
                  <a:pt x="0" y="55"/>
                </a:cubicBezTo>
                <a:cubicBezTo>
                  <a:pt x="2" y="67"/>
                  <a:pt x="12" y="76"/>
                  <a:pt x="23" y="76"/>
                </a:cubicBezTo>
                <a:close/>
                <a:moveTo>
                  <a:pt x="129" y="83"/>
                </a:moveTo>
                <a:cubicBezTo>
                  <a:pt x="91" y="83"/>
                  <a:pt x="91" y="83"/>
                  <a:pt x="91" y="83"/>
                </a:cubicBezTo>
                <a:cubicBezTo>
                  <a:pt x="91" y="88"/>
                  <a:pt x="91" y="88"/>
                  <a:pt x="91" y="88"/>
                </a:cubicBezTo>
                <a:cubicBezTo>
                  <a:pt x="91" y="92"/>
                  <a:pt x="88" y="96"/>
                  <a:pt x="84" y="96"/>
                </a:cubicBezTo>
                <a:cubicBezTo>
                  <a:pt x="69" y="96"/>
                  <a:pt x="69" y="96"/>
                  <a:pt x="69" y="96"/>
                </a:cubicBezTo>
                <a:cubicBezTo>
                  <a:pt x="65" y="96"/>
                  <a:pt x="62" y="92"/>
                  <a:pt x="62" y="88"/>
                </a:cubicBezTo>
                <a:cubicBezTo>
                  <a:pt x="62" y="83"/>
                  <a:pt x="62" y="83"/>
                  <a:pt x="62" y="83"/>
                </a:cubicBezTo>
                <a:cubicBezTo>
                  <a:pt x="23" y="83"/>
                  <a:pt x="23" y="83"/>
                  <a:pt x="23" y="83"/>
                </a:cubicBezTo>
                <a:cubicBezTo>
                  <a:pt x="14" y="83"/>
                  <a:pt x="5" y="77"/>
                  <a:pt x="0" y="69"/>
                </a:cubicBezTo>
                <a:cubicBezTo>
                  <a:pt x="0" y="117"/>
                  <a:pt x="0" y="117"/>
                  <a:pt x="0" y="117"/>
                </a:cubicBezTo>
                <a:cubicBezTo>
                  <a:pt x="0" y="128"/>
                  <a:pt x="8" y="137"/>
                  <a:pt x="18" y="137"/>
                </a:cubicBezTo>
                <a:cubicBezTo>
                  <a:pt x="24" y="137"/>
                  <a:pt x="24" y="137"/>
                  <a:pt x="24" y="137"/>
                </a:cubicBezTo>
                <a:cubicBezTo>
                  <a:pt x="29" y="137"/>
                  <a:pt x="29" y="137"/>
                  <a:pt x="29" y="137"/>
                </a:cubicBezTo>
                <a:cubicBezTo>
                  <a:pt x="36" y="137"/>
                  <a:pt x="36" y="137"/>
                  <a:pt x="36" y="137"/>
                </a:cubicBezTo>
                <a:cubicBezTo>
                  <a:pt x="116" y="137"/>
                  <a:pt x="116" y="137"/>
                  <a:pt x="116" y="137"/>
                </a:cubicBezTo>
                <a:cubicBezTo>
                  <a:pt x="122" y="137"/>
                  <a:pt x="122" y="137"/>
                  <a:pt x="122" y="137"/>
                </a:cubicBezTo>
                <a:cubicBezTo>
                  <a:pt x="126" y="137"/>
                  <a:pt x="126" y="137"/>
                  <a:pt x="126" y="137"/>
                </a:cubicBezTo>
                <a:cubicBezTo>
                  <a:pt x="134" y="137"/>
                  <a:pt x="134" y="137"/>
                  <a:pt x="134" y="137"/>
                </a:cubicBezTo>
                <a:cubicBezTo>
                  <a:pt x="144" y="137"/>
                  <a:pt x="152" y="128"/>
                  <a:pt x="152" y="117"/>
                </a:cubicBezTo>
                <a:cubicBezTo>
                  <a:pt x="152" y="69"/>
                  <a:pt x="152" y="69"/>
                  <a:pt x="152" y="69"/>
                </a:cubicBezTo>
                <a:cubicBezTo>
                  <a:pt x="147" y="77"/>
                  <a:pt x="139" y="83"/>
                  <a:pt x="129" y="83"/>
                </a:cubicBezTo>
                <a:close/>
                <a:moveTo>
                  <a:pt x="83" y="69"/>
                </a:moveTo>
                <a:cubicBezTo>
                  <a:pt x="69" y="69"/>
                  <a:pt x="69" y="69"/>
                  <a:pt x="69" y="69"/>
                </a:cubicBezTo>
                <a:cubicBezTo>
                  <a:pt x="68" y="69"/>
                  <a:pt x="67" y="70"/>
                  <a:pt x="67" y="72"/>
                </a:cubicBezTo>
                <a:cubicBezTo>
                  <a:pt x="67" y="75"/>
                  <a:pt x="67" y="75"/>
                  <a:pt x="67" y="75"/>
                </a:cubicBezTo>
                <a:cubicBezTo>
                  <a:pt x="67" y="77"/>
                  <a:pt x="67" y="77"/>
                  <a:pt x="67" y="77"/>
                </a:cubicBezTo>
                <a:cubicBezTo>
                  <a:pt x="67" y="82"/>
                  <a:pt x="67" y="82"/>
                  <a:pt x="67" y="82"/>
                </a:cubicBezTo>
                <a:cubicBezTo>
                  <a:pt x="67" y="84"/>
                  <a:pt x="67" y="84"/>
                  <a:pt x="67" y="84"/>
                </a:cubicBezTo>
                <a:cubicBezTo>
                  <a:pt x="67" y="88"/>
                  <a:pt x="67" y="88"/>
                  <a:pt x="67" y="88"/>
                </a:cubicBezTo>
                <a:cubicBezTo>
                  <a:pt x="67" y="89"/>
                  <a:pt x="68" y="90"/>
                  <a:pt x="69" y="90"/>
                </a:cubicBezTo>
                <a:cubicBezTo>
                  <a:pt x="83" y="90"/>
                  <a:pt x="83" y="90"/>
                  <a:pt x="83" y="90"/>
                </a:cubicBezTo>
                <a:cubicBezTo>
                  <a:pt x="85" y="90"/>
                  <a:pt x="86" y="89"/>
                  <a:pt x="86" y="88"/>
                </a:cubicBezTo>
                <a:cubicBezTo>
                  <a:pt x="86" y="84"/>
                  <a:pt x="86" y="84"/>
                  <a:pt x="86" y="84"/>
                </a:cubicBezTo>
                <a:cubicBezTo>
                  <a:pt x="86" y="82"/>
                  <a:pt x="86" y="82"/>
                  <a:pt x="86" y="82"/>
                </a:cubicBezTo>
                <a:cubicBezTo>
                  <a:pt x="86" y="77"/>
                  <a:pt x="86" y="77"/>
                  <a:pt x="86" y="77"/>
                </a:cubicBezTo>
                <a:cubicBezTo>
                  <a:pt x="86" y="75"/>
                  <a:pt x="86" y="75"/>
                  <a:pt x="86" y="75"/>
                </a:cubicBezTo>
                <a:cubicBezTo>
                  <a:pt x="86" y="72"/>
                  <a:pt x="86" y="72"/>
                  <a:pt x="86" y="72"/>
                </a:cubicBezTo>
                <a:cubicBezTo>
                  <a:pt x="86" y="70"/>
                  <a:pt x="85" y="69"/>
                  <a:pt x="83" y="6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306354" y="2245877"/>
            <a:ext cx="1211482" cy="489365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s &amp; </a:t>
            </a:r>
          </a:p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</a:t>
            </a:r>
          </a:p>
        </p:txBody>
      </p:sp>
      <p:sp>
        <p:nvSpPr>
          <p:cNvPr id="51" name="Freeform 42"/>
          <p:cNvSpPr>
            <a:spLocks noEditPoints="1"/>
          </p:cNvSpPr>
          <p:nvPr/>
        </p:nvSpPr>
        <p:spPr bwMode="auto">
          <a:xfrm>
            <a:off x="4003532" y="4156580"/>
            <a:ext cx="476250" cy="433965"/>
          </a:xfrm>
          <a:custGeom>
            <a:avLst/>
            <a:gdLst>
              <a:gd name="T0" fmla="*/ 454858 w 141"/>
              <a:gd name="T1" fmla="*/ 310850 h 74"/>
              <a:gd name="T2" fmla="*/ 427837 w 141"/>
              <a:gd name="T3" fmla="*/ 319860 h 74"/>
              <a:gd name="T4" fmla="*/ 324255 w 141"/>
              <a:gd name="T5" fmla="*/ 333375 h 74"/>
              <a:gd name="T6" fmla="*/ 220674 w 141"/>
              <a:gd name="T7" fmla="*/ 319860 h 74"/>
              <a:gd name="T8" fmla="*/ 189149 w 141"/>
              <a:gd name="T9" fmla="*/ 310850 h 74"/>
              <a:gd name="T10" fmla="*/ 180142 w 141"/>
              <a:gd name="T11" fmla="*/ 261294 h 74"/>
              <a:gd name="T12" fmla="*/ 238688 w 141"/>
              <a:gd name="T13" fmla="*/ 220748 h 74"/>
              <a:gd name="T14" fmla="*/ 265709 w 141"/>
              <a:gd name="T15" fmla="*/ 211738 h 74"/>
              <a:gd name="T16" fmla="*/ 274716 w 141"/>
              <a:gd name="T17" fmla="*/ 171193 h 74"/>
              <a:gd name="T18" fmla="*/ 238688 w 141"/>
              <a:gd name="T19" fmla="*/ 72081 h 74"/>
              <a:gd name="T20" fmla="*/ 301738 w 141"/>
              <a:gd name="T21" fmla="*/ 4505 h 74"/>
              <a:gd name="T22" fmla="*/ 324255 w 141"/>
              <a:gd name="T23" fmla="*/ 0 h 74"/>
              <a:gd name="T24" fmla="*/ 346773 w 141"/>
              <a:gd name="T25" fmla="*/ 4505 h 74"/>
              <a:gd name="T26" fmla="*/ 405319 w 141"/>
              <a:gd name="T27" fmla="*/ 72081 h 74"/>
              <a:gd name="T28" fmla="*/ 369291 w 141"/>
              <a:gd name="T29" fmla="*/ 171193 h 74"/>
              <a:gd name="T30" fmla="*/ 382801 w 141"/>
              <a:gd name="T31" fmla="*/ 211738 h 74"/>
              <a:gd name="T32" fmla="*/ 409823 w 141"/>
              <a:gd name="T33" fmla="*/ 220748 h 74"/>
              <a:gd name="T34" fmla="*/ 468369 w 141"/>
              <a:gd name="T35" fmla="*/ 261294 h 74"/>
              <a:gd name="T36" fmla="*/ 454858 w 141"/>
              <a:gd name="T37" fmla="*/ 310850 h 74"/>
              <a:gd name="T38" fmla="*/ 621489 w 141"/>
              <a:gd name="T39" fmla="*/ 283819 h 74"/>
              <a:gd name="T40" fmla="*/ 580957 w 141"/>
              <a:gd name="T41" fmla="*/ 256789 h 74"/>
              <a:gd name="T42" fmla="*/ 562943 w 141"/>
              <a:gd name="T43" fmla="*/ 247779 h 74"/>
              <a:gd name="T44" fmla="*/ 553936 w 141"/>
              <a:gd name="T45" fmla="*/ 220748 h 74"/>
              <a:gd name="T46" fmla="*/ 580957 w 141"/>
              <a:gd name="T47" fmla="*/ 153172 h 74"/>
              <a:gd name="T48" fmla="*/ 540426 w 141"/>
              <a:gd name="T49" fmla="*/ 103617 h 74"/>
              <a:gd name="T50" fmla="*/ 522411 w 141"/>
              <a:gd name="T51" fmla="*/ 99111 h 74"/>
              <a:gd name="T52" fmla="*/ 504397 w 141"/>
              <a:gd name="T53" fmla="*/ 103617 h 74"/>
              <a:gd name="T54" fmla="*/ 463865 w 141"/>
              <a:gd name="T55" fmla="*/ 153172 h 74"/>
              <a:gd name="T56" fmla="*/ 490887 w 141"/>
              <a:gd name="T57" fmla="*/ 220748 h 74"/>
              <a:gd name="T58" fmla="*/ 481879 w 141"/>
              <a:gd name="T59" fmla="*/ 247779 h 74"/>
              <a:gd name="T60" fmla="*/ 481879 w 141"/>
              <a:gd name="T61" fmla="*/ 247779 h 74"/>
              <a:gd name="T62" fmla="*/ 486383 w 141"/>
              <a:gd name="T63" fmla="*/ 252284 h 74"/>
              <a:gd name="T64" fmla="*/ 499894 w 141"/>
              <a:gd name="T65" fmla="*/ 288324 h 74"/>
              <a:gd name="T66" fmla="*/ 472872 w 141"/>
              <a:gd name="T67" fmla="*/ 324365 h 74"/>
              <a:gd name="T68" fmla="*/ 459362 w 141"/>
              <a:gd name="T69" fmla="*/ 328870 h 74"/>
              <a:gd name="T70" fmla="*/ 522411 w 141"/>
              <a:gd name="T71" fmla="*/ 333375 h 74"/>
              <a:gd name="T72" fmla="*/ 594468 w 141"/>
              <a:gd name="T73" fmla="*/ 324365 h 74"/>
              <a:gd name="T74" fmla="*/ 616986 w 141"/>
              <a:gd name="T75" fmla="*/ 319860 h 74"/>
              <a:gd name="T76" fmla="*/ 621489 w 141"/>
              <a:gd name="T77" fmla="*/ 283819 h 74"/>
              <a:gd name="T78" fmla="*/ 148617 w 141"/>
              <a:gd name="T79" fmla="*/ 288324 h 74"/>
              <a:gd name="T80" fmla="*/ 162128 w 141"/>
              <a:gd name="T81" fmla="*/ 252284 h 74"/>
              <a:gd name="T82" fmla="*/ 175638 w 141"/>
              <a:gd name="T83" fmla="*/ 243274 h 74"/>
              <a:gd name="T84" fmla="*/ 166631 w 141"/>
              <a:gd name="T85" fmla="*/ 238769 h 74"/>
              <a:gd name="T86" fmla="*/ 157624 w 141"/>
              <a:gd name="T87" fmla="*/ 207233 h 74"/>
              <a:gd name="T88" fmla="*/ 184645 w 141"/>
              <a:gd name="T89" fmla="*/ 130647 h 74"/>
              <a:gd name="T90" fmla="*/ 139610 w 141"/>
              <a:gd name="T91" fmla="*/ 76586 h 74"/>
              <a:gd name="T92" fmla="*/ 121596 w 141"/>
              <a:gd name="T93" fmla="*/ 76586 h 74"/>
              <a:gd name="T94" fmla="*/ 103582 w 141"/>
              <a:gd name="T95" fmla="*/ 76586 h 74"/>
              <a:gd name="T96" fmla="*/ 58546 w 141"/>
              <a:gd name="T97" fmla="*/ 130647 h 74"/>
              <a:gd name="T98" fmla="*/ 85567 w 141"/>
              <a:gd name="T99" fmla="*/ 207233 h 74"/>
              <a:gd name="T100" fmla="*/ 76560 w 141"/>
              <a:gd name="T101" fmla="*/ 238769 h 74"/>
              <a:gd name="T102" fmla="*/ 54043 w 141"/>
              <a:gd name="T103" fmla="*/ 247779 h 74"/>
              <a:gd name="T104" fmla="*/ 9007 w 141"/>
              <a:gd name="T105" fmla="*/ 279314 h 74"/>
              <a:gd name="T106" fmla="*/ 18014 w 141"/>
              <a:gd name="T107" fmla="*/ 315355 h 74"/>
              <a:gd name="T108" fmla="*/ 40532 w 141"/>
              <a:gd name="T109" fmla="*/ 324365 h 74"/>
              <a:gd name="T110" fmla="*/ 121596 w 141"/>
              <a:gd name="T111" fmla="*/ 333375 h 74"/>
              <a:gd name="T112" fmla="*/ 189149 w 141"/>
              <a:gd name="T113" fmla="*/ 328870 h 74"/>
              <a:gd name="T114" fmla="*/ 175638 w 141"/>
              <a:gd name="T115" fmla="*/ 324365 h 74"/>
              <a:gd name="T116" fmla="*/ 148617 w 141"/>
              <a:gd name="T117" fmla="*/ 288324 h 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1" h="74">
                <a:moveTo>
                  <a:pt x="101" y="69"/>
                </a:moveTo>
                <a:cubicBezTo>
                  <a:pt x="99" y="70"/>
                  <a:pt x="97" y="71"/>
                  <a:pt x="95" y="71"/>
                </a:cubicBezTo>
                <a:cubicBezTo>
                  <a:pt x="88" y="73"/>
                  <a:pt x="81" y="73"/>
                  <a:pt x="72" y="74"/>
                </a:cubicBezTo>
                <a:cubicBezTo>
                  <a:pt x="63" y="73"/>
                  <a:pt x="56" y="73"/>
                  <a:pt x="49" y="71"/>
                </a:cubicBezTo>
                <a:cubicBezTo>
                  <a:pt x="46" y="71"/>
                  <a:pt x="44" y="70"/>
                  <a:pt x="42" y="69"/>
                </a:cubicBezTo>
                <a:cubicBezTo>
                  <a:pt x="36" y="66"/>
                  <a:pt x="36" y="61"/>
                  <a:pt x="40" y="58"/>
                </a:cubicBezTo>
                <a:cubicBezTo>
                  <a:pt x="43" y="54"/>
                  <a:pt x="48" y="52"/>
                  <a:pt x="53" y="49"/>
                </a:cubicBezTo>
                <a:cubicBezTo>
                  <a:pt x="55" y="48"/>
                  <a:pt x="57" y="48"/>
                  <a:pt x="59" y="47"/>
                </a:cubicBezTo>
                <a:cubicBezTo>
                  <a:pt x="63" y="45"/>
                  <a:pt x="64" y="41"/>
                  <a:pt x="61" y="38"/>
                </a:cubicBezTo>
                <a:cubicBezTo>
                  <a:pt x="55" y="32"/>
                  <a:pt x="53" y="24"/>
                  <a:pt x="53" y="16"/>
                </a:cubicBezTo>
                <a:cubicBezTo>
                  <a:pt x="54" y="7"/>
                  <a:pt x="59" y="3"/>
                  <a:pt x="67" y="1"/>
                </a:cubicBezTo>
                <a:cubicBezTo>
                  <a:pt x="69" y="0"/>
                  <a:pt x="70" y="0"/>
                  <a:pt x="72" y="0"/>
                </a:cubicBezTo>
                <a:cubicBezTo>
                  <a:pt x="74" y="0"/>
                  <a:pt x="75" y="0"/>
                  <a:pt x="77" y="1"/>
                </a:cubicBezTo>
                <a:cubicBezTo>
                  <a:pt x="85" y="3"/>
                  <a:pt x="90" y="7"/>
                  <a:pt x="90" y="16"/>
                </a:cubicBezTo>
                <a:cubicBezTo>
                  <a:pt x="91" y="24"/>
                  <a:pt x="88" y="32"/>
                  <a:pt x="82" y="38"/>
                </a:cubicBezTo>
                <a:cubicBezTo>
                  <a:pt x="79" y="41"/>
                  <a:pt x="80" y="45"/>
                  <a:pt x="85" y="47"/>
                </a:cubicBezTo>
                <a:cubicBezTo>
                  <a:pt x="87" y="48"/>
                  <a:pt x="89" y="48"/>
                  <a:pt x="91" y="49"/>
                </a:cubicBezTo>
                <a:cubicBezTo>
                  <a:pt x="96" y="52"/>
                  <a:pt x="100" y="54"/>
                  <a:pt x="104" y="58"/>
                </a:cubicBezTo>
                <a:cubicBezTo>
                  <a:pt x="106" y="60"/>
                  <a:pt x="108" y="66"/>
                  <a:pt x="101" y="69"/>
                </a:cubicBezTo>
                <a:close/>
                <a:moveTo>
                  <a:pt x="138" y="63"/>
                </a:moveTo>
                <a:cubicBezTo>
                  <a:pt x="136" y="60"/>
                  <a:pt x="133" y="58"/>
                  <a:pt x="129" y="57"/>
                </a:cubicBezTo>
                <a:cubicBezTo>
                  <a:pt x="128" y="56"/>
                  <a:pt x="126" y="56"/>
                  <a:pt x="125" y="55"/>
                </a:cubicBezTo>
                <a:cubicBezTo>
                  <a:pt x="122" y="54"/>
                  <a:pt x="121" y="51"/>
                  <a:pt x="123" y="49"/>
                </a:cubicBezTo>
                <a:cubicBezTo>
                  <a:pt x="128" y="45"/>
                  <a:pt x="129" y="39"/>
                  <a:pt x="129" y="34"/>
                </a:cubicBezTo>
                <a:cubicBezTo>
                  <a:pt x="129" y="27"/>
                  <a:pt x="125" y="24"/>
                  <a:pt x="120" y="23"/>
                </a:cubicBezTo>
                <a:cubicBezTo>
                  <a:pt x="118" y="23"/>
                  <a:pt x="117" y="22"/>
                  <a:pt x="116" y="22"/>
                </a:cubicBezTo>
                <a:cubicBezTo>
                  <a:pt x="115" y="22"/>
                  <a:pt x="114" y="23"/>
                  <a:pt x="112" y="23"/>
                </a:cubicBezTo>
                <a:cubicBezTo>
                  <a:pt x="107" y="24"/>
                  <a:pt x="103" y="27"/>
                  <a:pt x="103" y="34"/>
                </a:cubicBezTo>
                <a:cubicBezTo>
                  <a:pt x="103" y="39"/>
                  <a:pt x="104" y="45"/>
                  <a:pt x="109" y="49"/>
                </a:cubicBezTo>
                <a:cubicBezTo>
                  <a:pt x="111" y="51"/>
                  <a:pt x="110" y="54"/>
                  <a:pt x="107" y="55"/>
                </a:cubicBezTo>
                <a:cubicBezTo>
                  <a:pt x="107" y="55"/>
                  <a:pt x="107" y="55"/>
                  <a:pt x="107" y="55"/>
                </a:cubicBezTo>
                <a:cubicBezTo>
                  <a:pt x="107" y="55"/>
                  <a:pt x="108" y="56"/>
                  <a:pt x="108" y="56"/>
                </a:cubicBezTo>
                <a:cubicBezTo>
                  <a:pt x="110" y="58"/>
                  <a:pt x="111" y="61"/>
                  <a:pt x="111" y="64"/>
                </a:cubicBezTo>
                <a:cubicBezTo>
                  <a:pt x="110" y="67"/>
                  <a:pt x="108" y="70"/>
                  <a:pt x="105" y="72"/>
                </a:cubicBezTo>
                <a:cubicBezTo>
                  <a:pt x="104" y="72"/>
                  <a:pt x="103" y="72"/>
                  <a:pt x="102" y="73"/>
                </a:cubicBezTo>
                <a:cubicBezTo>
                  <a:pt x="106" y="73"/>
                  <a:pt x="111" y="73"/>
                  <a:pt x="116" y="74"/>
                </a:cubicBezTo>
                <a:cubicBezTo>
                  <a:pt x="122" y="73"/>
                  <a:pt x="127" y="73"/>
                  <a:pt x="132" y="72"/>
                </a:cubicBezTo>
                <a:cubicBezTo>
                  <a:pt x="134" y="72"/>
                  <a:pt x="135" y="71"/>
                  <a:pt x="137" y="71"/>
                </a:cubicBezTo>
                <a:cubicBezTo>
                  <a:pt x="141" y="69"/>
                  <a:pt x="140" y="64"/>
                  <a:pt x="138" y="63"/>
                </a:cubicBezTo>
                <a:close/>
                <a:moveTo>
                  <a:pt x="33" y="64"/>
                </a:moveTo>
                <a:cubicBezTo>
                  <a:pt x="32" y="62"/>
                  <a:pt x="33" y="59"/>
                  <a:pt x="36" y="56"/>
                </a:cubicBezTo>
                <a:cubicBezTo>
                  <a:pt x="37" y="55"/>
                  <a:pt x="38" y="54"/>
                  <a:pt x="39" y="54"/>
                </a:cubicBezTo>
                <a:cubicBezTo>
                  <a:pt x="38" y="53"/>
                  <a:pt x="37" y="53"/>
                  <a:pt x="37" y="53"/>
                </a:cubicBezTo>
                <a:cubicBezTo>
                  <a:pt x="34" y="52"/>
                  <a:pt x="33" y="48"/>
                  <a:pt x="35" y="46"/>
                </a:cubicBezTo>
                <a:cubicBezTo>
                  <a:pt x="40" y="41"/>
                  <a:pt x="42" y="36"/>
                  <a:pt x="41" y="29"/>
                </a:cubicBezTo>
                <a:cubicBezTo>
                  <a:pt x="41" y="23"/>
                  <a:pt x="37" y="19"/>
                  <a:pt x="31" y="17"/>
                </a:cubicBezTo>
                <a:cubicBezTo>
                  <a:pt x="30" y="17"/>
                  <a:pt x="28" y="17"/>
                  <a:pt x="27" y="17"/>
                </a:cubicBezTo>
                <a:cubicBezTo>
                  <a:pt x="26" y="17"/>
                  <a:pt x="24" y="17"/>
                  <a:pt x="23" y="17"/>
                </a:cubicBezTo>
                <a:cubicBezTo>
                  <a:pt x="17" y="19"/>
                  <a:pt x="13" y="23"/>
                  <a:pt x="13" y="29"/>
                </a:cubicBezTo>
                <a:cubicBezTo>
                  <a:pt x="12" y="36"/>
                  <a:pt x="14" y="41"/>
                  <a:pt x="19" y="46"/>
                </a:cubicBezTo>
                <a:cubicBezTo>
                  <a:pt x="21" y="49"/>
                  <a:pt x="20" y="52"/>
                  <a:pt x="17" y="53"/>
                </a:cubicBezTo>
                <a:cubicBezTo>
                  <a:pt x="16" y="54"/>
                  <a:pt x="14" y="54"/>
                  <a:pt x="12" y="55"/>
                </a:cubicBezTo>
                <a:cubicBezTo>
                  <a:pt x="9" y="57"/>
                  <a:pt x="5" y="59"/>
                  <a:pt x="2" y="62"/>
                </a:cubicBezTo>
                <a:cubicBezTo>
                  <a:pt x="0" y="64"/>
                  <a:pt x="0" y="68"/>
                  <a:pt x="4" y="70"/>
                </a:cubicBezTo>
                <a:cubicBezTo>
                  <a:pt x="6" y="71"/>
                  <a:pt x="7" y="72"/>
                  <a:pt x="9" y="72"/>
                </a:cubicBezTo>
                <a:cubicBezTo>
                  <a:pt x="15" y="73"/>
                  <a:pt x="20" y="73"/>
                  <a:pt x="27" y="74"/>
                </a:cubicBezTo>
                <a:cubicBezTo>
                  <a:pt x="33" y="73"/>
                  <a:pt x="37" y="73"/>
                  <a:pt x="42" y="73"/>
                </a:cubicBezTo>
                <a:cubicBezTo>
                  <a:pt x="41" y="72"/>
                  <a:pt x="40" y="72"/>
                  <a:pt x="39" y="72"/>
                </a:cubicBezTo>
                <a:cubicBezTo>
                  <a:pt x="35" y="70"/>
                  <a:pt x="33" y="67"/>
                  <a:pt x="33" y="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2" name="Freeform 46"/>
          <p:cNvSpPr>
            <a:spLocks noEditPoints="1"/>
          </p:cNvSpPr>
          <p:nvPr/>
        </p:nvSpPr>
        <p:spPr bwMode="auto">
          <a:xfrm>
            <a:off x="4799373" y="4160278"/>
            <a:ext cx="406386" cy="471735"/>
          </a:xfrm>
          <a:custGeom>
            <a:avLst/>
            <a:gdLst>
              <a:gd name="T0" fmla="*/ 413290 w 94"/>
              <a:gd name="T1" fmla="*/ 180367 h 94"/>
              <a:gd name="T2" fmla="*/ 363875 w 94"/>
              <a:gd name="T3" fmla="*/ 171349 h 94"/>
              <a:gd name="T4" fmla="*/ 345906 w 94"/>
              <a:gd name="T5" fmla="*/ 130766 h 94"/>
              <a:gd name="T6" fmla="*/ 377352 w 94"/>
              <a:gd name="T7" fmla="*/ 85674 h 94"/>
              <a:gd name="T8" fmla="*/ 377352 w 94"/>
              <a:gd name="T9" fmla="*/ 76656 h 94"/>
              <a:gd name="T10" fmla="*/ 345906 w 94"/>
              <a:gd name="T11" fmla="*/ 45092 h 94"/>
              <a:gd name="T12" fmla="*/ 332429 w 94"/>
              <a:gd name="T13" fmla="*/ 45092 h 94"/>
              <a:gd name="T14" fmla="*/ 291999 w 94"/>
              <a:gd name="T15" fmla="*/ 76656 h 94"/>
              <a:gd name="T16" fmla="*/ 251568 w 94"/>
              <a:gd name="T17" fmla="*/ 58619 h 94"/>
              <a:gd name="T18" fmla="*/ 242584 w 94"/>
              <a:gd name="T19" fmla="*/ 4509 h 94"/>
              <a:gd name="T20" fmla="*/ 233599 w 94"/>
              <a:gd name="T21" fmla="*/ 0 h 94"/>
              <a:gd name="T22" fmla="*/ 188676 w 94"/>
              <a:gd name="T23" fmla="*/ 0 h 94"/>
              <a:gd name="T24" fmla="*/ 179691 w 94"/>
              <a:gd name="T25" fmla="*/ 4509 h 94"/>
              <a:gd name="T26" fmla="*/ 170707 w 94"/>
              <a:gd name="T27" fmla="*/ 58619 h 94"/>
              <a:gd name="T28" fmla="*/ 130276 w 94"/>
              <a:gd name="T29" fmla="*/ 76656 h 94"/>
              <a:gd name="T30" fmla="*/ 89846 w 94"/>
              <a:gd name="T31" fmla="*/ 45092 h 94"/>
              <a:gd name="T32" fmla="*/ 76369 w 94"/>
              <a:gd name="T33" fmla="*/ 45092 h 94"/>
              <a:gd name="T34" fmla="*/ 44923 w 94"/>
              <a:gd name="T35" fmla="*/ 76656 h 94"/>
              <a:gd name="T36" fmla="*/ 44923 w 94"/>
              <a:gd name="T37" fmla="*/ 85674 h 94"/>
              <a:gd name="T38" fmla="*/ 76369 w 94"/>
              <a:gd name="T39" fmla="*/ 130766 h 94"/>
              <a:gd name="T40" fmla="*/ 58400 w 94"/>
              <a:gd name="T41" fmla="*/ 171349 h 94"/>
              <a:gd name="T42" fmla="*/ 4492 w 94"/>
              <a:gd name="T43" fmla="*/ 180367 h 94"/>
              <a:gd name="T44" fmla="*/ 0 w 94"/>
              <a:gd name="T45" fmla="*/ 189386 h 94"/>
              <a:gd name="T46" fmla="*/ 0 w 94"/>
              <a:gd name="T47" fmla="*/ 234477 h 94"/>
              <a:gd name="T48" fmla="*/ 4492 w 94"/>
              <a:gd name="T49" fmla="*/ 243496 h 94"/>
              <a:gd name="T50" fmla="*/ 58400 w 94"/>
              <a:gd name="T51" fmla="*/ 248005 h 94"/>
              <a:gd name="T52" fmla="*/ 76369 w 94"/>
              <a:gd name="T53" fmla="*/ 288588 h 94"/>
              <a:gd name="T54" fmla="*/ 44923 w 94"/>
              <a:gd name="T55" fmla="*/ 333679 h 94"/>
              <a:gd name="T56" fmla="*/ 44923 w 94"/>
              <a:gd name="T57" fmla="*/ 347207 h 94"/>
              <a:gd name="T58" fmla="*/ 76369 w 94"/>
              <a:gd name="T59" fmla="*/ 378771 h 94"/>
              <a:gd name="T60" fmla="*/ 89846 w 94"/>
              <a:gd name="T61" fmla="*/ 378771 h 94"/>
              <a:gd name="T62" fmla="*/ 130276 w 94"/>
              <a:gd name="T63" fmla="*/ 347207 h 94"/>
              <a:gd name="T64" fmla="*/ 170707 w 94"/>
              <a:gd name="T65" fmla="*/ 360734 h 94"/>
              <a:gd name="T66" fmla="*/ 179691 w 94"/>
              <a:gd name="T67" fmla="*/ 414845 h 94"/>
              <a:gd name="T68" fmla="*/ 188676 w 94"/>
              <a:gd name="T69" fmla="*/ 423863 h 94"/>
              <a:gd name="T70" fmla="*/ 233599 w 94"/>
              <a:gd name="T71" fmla="*/ 423863 h 94"/>
              <a:gd name="T72" fmla="*/ 242584 w 94"/>
              <a:gd name="T73" fmla="*/ 414845 h 94"/>
              <a:gd name="T74" fmla="*/ 251568 w 94"/>
              <a:gd name="T75" fmla="*/ 360734 h 94"/>
              <a:gd name="T76" fmla="*/ 291999 w 94"/>
              <a:gd name="T77" fmla="*/ 347207 h 94"/>
              <a:gd name="T78" fmla="*/ 332429 w 94"/>
              <a:gd name="T79" fmla="*/ 378771 h 94"/>
              <a:gd name="T80" fmla="*/ 345906 w 94"/>
              <a:gd name="T81" fmla="*/ 378771 h 94"/>
              <a:gd name="T82" fmla="*/ 377352 w 94"/>
              <a:gd name="T83" fmla="*/ 347207 h 94"/>
              <a:gd name="T84" fmla="*/ 377352 w 94"/>
              <a:gd name="T85" fmla="*/ 333679 h 94"/>
              <a:gd name="T86" fmla="*/ 345906 w 94"/>
              <a:gd name="T87" fmla="*/ 288588 h 94"/>
              <a:gd name="T88" fmla="*/ 363875 w 94"/>
              <a:gd name="T89" fmla="*/ 248005 h 94"/>
              <a:gd name="T90" fmla="*/ 413290 w 94"/>
              <a:gd name="T91" fmla="*/ 243496 h 94"/>
              <a:gd name="T92" fmla="*/ 422275 w 94"/>
              <a:gd name="T93" fmla="*/ 234477 h 94"/>
              <a:gd name="T94" fmla="*/ 422275 w 94"/>
              <a:gd name="T95" fmla="*/ 189386 h 94"/>
              <a:gd name="T96" fmla="*/ 413290 w 94"/>
              <a:gd name="T97" fmla="*/ 180367 h 94"/>
              <a:gd name="T98" fmla="*/ 211138 w 94"/>
              <a:gd name="T99" fmla="*/ 288588 h 94"/>
              <a:gd name="T100" fmla="*/ 130276 w 94"/>
              <a:gd name="T101" fmla="*/ 211932 h 94"/>
              <a:gd name="T102" fmla="*/ 211138 w 94"/>
              <a:gd name="T103" fmla="*/ 130766 h 94"/>
              <a:gd name="T104" fmla="*/ 287506 w 94"/>
              <a:gd name="T105" fmla="*/ 211932 h 94"/>
              <a:gd name="T106" fmla="*/ 211138 w 94"/>
              <a:gd name="T107" fmla="*/ 288588 h 9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94" h="94">
                <a:moveTo>
                  <a:pt x="92" y="40"/>
                </a:moveTo>
                <a:cubicBezTo>
                  <a:pt x="81" y="38"/>
                  <a:pt x="81" y="38"/>
                  <a:pt x="81" y="38"/>
                </a:cubicBezTo>
                <a:cubicBezTo>
                  <a:pt x="80" y="35"/>
                  <a:pt x="79" y="32"/>
                  <a:pt x="77" y="29"/>
                </a:cubicBezTo>
                <a:cubicBezTo>
                  <a:pt x="84" y="19"/>
                  <a:pt x="84" y="19"/>
                  <a:pt x="84" y="19"/>
                </a:cubicBezTo>
                <a:cubicBezTo>
                  <a:pt x="84" y="19"/>
                  <a:pt x="84" y="17"/>
                  <a:pt x="84" y="17"/>
                </a:cubicBezTo>
                <a:cubicBezTo>
                  <a:pt x="77" y="10"/>
                  <a:pt x="77" y="10"/>
                  <a:pt x="77" y="10"/>
                </a:cubicBezTo>
                <a:cubicBezTo>
                  <a:pt x="76" y="9"/>
                  <a:pt x="75" y="9"/>
                  <a:pt x="74" y="10"/>
                </a:cubicBezTo>
                <a:cubicBezTo>
                  <a:pt x="65" y="17"/>
                  <a:pt x="65" y="17"/>
                  <a:pt x="65" y="17"/>
                </a:cubicBezTo>
                <a:cubicBezTo>
                  <a:pt x="62" y="15"/>
                  <a:pt x="59" y="14"/>
                  <a:pt x="56" y="13"/>
                </a:cubicBezTo>
                <a:cubicBezTo>
                  <a:pt x="54" y="1"/>
                  <a:pt x="54" y="1"/>
                  <a:pt x="54" y="1"/>
                </a:cubicBezTo>
                <a:cubicBezTo>
                  <a:pt x="54" y="0"/>
                  <a:pt x="53" y="0"/>
                  <a:pt x="52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1" y="0"/>
                  <a:pt x="40" y="0"/>
                  <a:pt x="40" y="1"/>
                </a:cubicBezTo>
                <a:cubicBezTo>
                  <a:pt x="38" y="13"/>
                  <a:pt x="38" y="13"/>
                  <a:pt x="38" y="13"/>
                </a:cubicBezTo>
                <a:cubicBezTo>
                  <a:pt x="35" y="14"/>
                  <a:pt x="32" y="15"/>
                  <a:pt x="29" y="17"/>
                </a:cubicBezTo>
                <a:cubicBezTo>
                  <a:pt x="20" y="10"/>
                  <a:pt x="20" y="10"/>
                  <a:pt x="20" y="10"/>
                </a:cubicBezTo>
                <a:cubicBezTo>
                  <a:pt x="19" y="9"/>
                  <a:pt x="18" y="9"/>
                  <a:pt x="17" y="10"/>
                </a:cubicBezTo>
                <a:cubicBezTo>
                  <a:pt x="10" y="17"/>
                  <a:pt x="10" y="17"/>
                  <a:pt x="10" y="17"/>
                </a:cubicBezTo>
                <a:cubicBezTo>
                  <a:pt x="9" y="17"/>
                  <a:pt x="9" y="19"/>
                  <a:pt x="10" y="19"/>
                </a:cubicBezTo>
                <a:cubicBezTo>
                  <a:pt x="17" y="29"/>
                  <a:pt x="17" y="29"/>
                  <a:pt x="17" y="29"/>
                </a:cubicBezTo>
                <a:cubicBezTo>
                  <a:pt x="15" y="32"/>
                  <a:pt x="14" y="35"/>
                  <a:pt x="13" y="38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0"/>
                  <a:pt x="0" y="41"/>
                  <a:pt x="0" y="42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53"/>
                  <a:pt x="0" y="53"/>
                  <a:pt x="1" y="54"/>
                </a:cubicBezTo>
                <a:cubicBezTo>
                  <a:pt x="13" y="55"/>
                  <a:pt x="13" y="55"/>
                  <a:pt x="13" y="55"/>
                </a:cubicBezTo>
                <a:cubicBezTo>
                  <a:pt x="14" y="59"/>
                  <a:pt x="15" y="62"/>
                  <a:pt x="17" y="64"/>
                </a:cubicBezTo>
                <a:cubicBezTo>
                  <a:pt x="10" y="74"/>
                  <a:pt x="10" y="74"/>
                  <a:pt x="10" y="74"/>
                </a:cubicBezTo>
                <a:cubicBezTo>
                  <a:pt x="9" y="75"/>
                  <a:pt x="9" y="76"/>
                  <a:pt x="10" y="77"/>
                </a:cubicBezTo>
                <a:cubicBezTo>
                  <a:pt x="17" y="84"/>
                  <a:pt x="17" y="84"/>
                  <a:pt x="17" y="84"/>
                </a:cubicBezTo>
                <a:cubicBezTo>
                  <a:pt x="18" y="84"/>
                  <a:pt x="19" y="84"/>
                  <a:pt x="20" y="84"/>
                </a:cubicBezTo>
                <a:cubicBezTo>
                  <a:pt x="29" y="77"/>
                  <a:pt x="29" y="77"/>
                  <a:pt x="29" y="77"/>
                </a:cubicBezTo>
                <a:cubicBezTo>
                  <a:pt x="32" y="78"/>
                  <a:pt x="35" y="80"/>
                  <a:pt x="38" y="80"/>
                </a:cubicBezTo>
                <a:cubicBezTo>
                  <a:pt x="40" y="92"/>
                  <a:pt x="40" y="92"/>
                  <a:pt x="40" y="92"/>
                </a:cubicBezTo>
                <a:cubicBezTo>
                  <a:pt x="40" y="93"/>
                  <a:pt x="41" y="94"/>
                  <a:pt x="42" y="94"/>
                </a:cubicBezTo>
                <a:cubicBezTo>
                  <a:pt x="52" y="94"/>
                  <a:pt x="52" y="94"/>
                  <a:pt x="52" y="94"/>
                </a:cubicBezTo>
                <a:cubicBezTo>
                  <a:pt x="53" y="94"/>
                  <a:pt x="54" y="93"/>
                  <a:pt x="54" y="92"/>
                </a:cubicBezTo>
                <a:cubicBezTo>
                  <a:pt x="56" y="80"/>
                  <a:pt x="56" y="80"/>
                  <a:pt x="56" y="80"/>
                </a:cubicBezTo>
                <a:cubicBezTo>
                  <a:pt x="59" y="80"/>
                  <a:pt x="62" y="78"/>
                  <a:pt x="65" y="77"/>
                </a:cubicBezTo>
                <a:cubicBezTo>
                  <a:pt x="74" y="84"/>
                  <a:pt x="74" y="84"/>
                  <a:pt x="74" y="84"/>
                </a:cubicBezTo>
                <a:cubicBezTo>
                  <a:pt x="75" y="84"/>
                  <a:pt x="76" y="84"/>
                  <a:pt x="77" y="84"/>
                </a:cubicBezTo>
                <a:cubicBezTo>
                  <a:pt x="84" y="77"/>
                  <a:pt x="84" y="77"/>
                  <a:pt x="84" y="77"/>
                </a:cubicBezTo>
                <a:cubicBezTo>
                  <a:pt x="84" y="76"/>
                  <a:pt x="84" y="75"/>
                  <a:pt x="84" y="74"/>
                </a:cubicBezTo>
                <a:cubicBezTo>
                  <a:pt x="77" y="64"/>
                  <a:pt x="77" y="64"/>
                  <a:pt x="77" y="64"/>
                </a:cubicBezTo>
                <a:cubicBezTo>
                  <a:pt x="79" y="62"/>
                  <a:pt x="80" y="59"/>
                  <a:pt x="81" y="55"/>
                </a:cubicBezTo>
                <a:cubicBezTo>
                  <a:pt x="92" y="54"/>
                  <a:pt x="92" y="54"/>
                  <a:pt x="92" y="54"/>
                </a:cubicBezTo>
                <a:cubicBezTo>
                  <a:pt x="93" y="53"/>
                  <a:pt x="94" y="53"/>
                  <a:pt x="94" y="52"/>
                </a:cubicBezTo>
                <a:cubicBezTo>
                  <a:pt x="94" y="42"/>
                  <a:pt x="94" y="42"/>
                  <a:pt x="94" y="42"/>
                </a:cubicBezTo>
                <a:cubicBezTo>
                  <a:pt x="94" y="41"/>
                  <a:pt x="93" y="40"/>
                  <a:pt x="92" y="40"/>
                </a:cubicBezTo>
                <a:close/>
                <a:moveTo>
                  <a:pt x="47" y="64"/>
                </a:moveTo>
                <a:cubicBezTo>
                  <a:pt x="37" y="64"/>
                  <a:pt x="29" y="56"/>
                  <a:pt x="29" y="47"/>
                </a:cubicBezTo>
                <a:cubicBezTo>
                  <a:pt x="29" y="37"/>
                  <a:pt x="37" y="29"/>
                  <a:pt x="47" y="29"/>
                </a:cubicBezTo>
                <a:cubicBezTo>
                  <a:pt x="57" y="29"/>
                  <a:pt x="64" y="37"/>
                  <a:pt x="64" y="47"/>
                </a:cubicBezTo>
                <a:cubicBezTo>
                  <a:pt x="64" y="56"/>
                  <a:pt x="57" y="64"/>
                  <a:pt x="47" y="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195591" y="3501000"/>
            <a:ext cx="1387486" cy="489365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</a:t>
            </a:r>
          </a:p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ources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694198" y="3510725"/>
            <a:ext cx="1387486" cy="489365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&amp; </a:t>
            </a:r>
          </a:p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4674087" y="2180937"/>
            <a:ext cx="1387486" cy="489365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w &amp;</a:t>
            </a:r>
          </a:p>
          <a:p>
            <a:pPr algn="ctr" defTabSz="615477" latinLnBrk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gulation</a:t>
            </a: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ircular Arrow 54"/>
          <p:cNvSpPr/>
          <p:nvPr/>
        </p:nvSpPr>
        <p:spPr>
          <a:xfrm>
            <a:off x="4278187" y="2754528"/>
            <a:ext cx="616744" cy="569119"/>
          </a:xfrm>
          <a:prstGeom prst="circular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sp>
      <p:sp>
        <p:nvSpPr>
          <p:cNvPr id="57" name="Circular Arrow 56"/>
          <p:cNvSpPr/>
          <p:nvPr/>
        </p:nvSpPr>
        <p:spPr>
          <a:xfrm rot="10800000">
            <a:off x="4306811" y="2966469"/>
            <a:ext cx="616744" cy="570309"/>
          </a:xfrm>
          <a:prstGeom prst="circular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sp>
      <p:sp>
        <p:nvSpPr>
          <p:cNvPr id="64" name="Rounded Rectangle 4"/>
          <p:cNvSpPr/>
          <p:nvPr/>
        </p:nvSpPr>
        <p:spPr bwMode="auto">
          <a:xfrm>
            <a:off x="383012" y="1336265"/>
            <a:ext cx="2957920" cy="1513571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42203" tIns="42203" rIns="42203" bIns="42203" spcCol="1270"/>
          <a:lstStyle/>
          <a:p>
            <a:pPr marL="171450" lvl="1" indent="-171450" defTabSz="492382" latinLnBrk="1">
              <a:buFont typeface="Wingdings" panose="05000000000000000000" pitchFamily="2" charset="2"/>
              <a:buChar char="§"/>
              <a:defRPr/>
            </a:pP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492382" latinLnBrk="1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 of Accounting </a:t>
            </a: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 </a:t>
            </a: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492382" latinLnBrk="1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SAS Gap </a:t>
            </a: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492382" latinLnBrk="1"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 of Accounting Standards</a:t>
            </a:r>
          </a:p>
          <a:p>
            <a:pPr marL="95250" lvl="1" defTabSz="492382" latinLnBrk="1">
              <a:defRPr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</a:t>
            </a: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PSAS</a:t>
            </a: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74670" y="2983350"/>
            <a:ext cx="2894292" cy="1338828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square">
            <a:spAutoFit/>
          </a:bodyPr>
          <a:lstStyle/>
          <a:p>
            <a:pPr marL="171450" lvl="1" indent="-171450" defTabSz="492382" latinLnBrk="1">
              <a:spcAft>
                <a:spcPct val="150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</a:t>
            </a: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</a:p>
          <a:p>
            <a:pPr marL="171450" lvl="1" indent="-171450" defTabSz="492382" latinLnBrk="1">
              <a:spcAft>
                <a:spcPct val="150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y-in from </a:t>
            </a: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relevant </a:t>
            </a: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es</a:t>
            </a: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492382" latinLnBrk="1">
              <a:spcAft>
                <a:spcPct val="150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olvement of all personnel </a:t>
            </a:r>
          </a:p>
          <a:p>
            <a:pPr marL="133350" lvl="1" defTabSz="492382" latinLnBrk="1">
              <a:spcAft>
                <a:spcPct val="15000"/>
              </a:spcAft>
              <a:defRPr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ublic Sector accounting </a:t>
            </a:r>
          </a:p>
          <a:p>
            <a:pPr marL="133350" lvl="1" defTabSz="492382" latinLnBrk="1">
              <a:spcAft>
                <a:spcPct val="15000"/>
              </a:spcAft>
              <a:defRPr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vice.</a:t>
            </a:r>
          </a:p>
          <a:p>
            <a:pPr marL="171450" lvl="1" indent="-171450" defTabSz="492382" latinLnBrk="1">
              <a:spcAft>
                <a:spcPct val="1500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</a:t>
            </a: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ital Development</a:t>
            </a:r>
          </a:p>
        </p:txBody>
      </p:sp>
      <p:sp>
        <p:nvSpPr>
          <p:cNvPr id="67" name="Rounded Rectangle 4"/>
          <p:cNvSpPr/>
          <p:nvPr/>
        </p:nvSpPr>
        <p:spPr bwMode="auto">
          <a:xfrm>
            <a:off x="6507194" y="3282725"/>
            <a:ext cx="2789243" cy="1549644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42203" tIns="42203" rIns="42203" bIns="42203" spcCol="1270"/>
          <a:lstStyle/>
          <a:p>
            <a:pPr marL="171450" lvl="1" indent="-171450" defTabSz="492382" latinLnBrk="1">
              <a:lnSpc>
                <a:spcPct val="150000"/>
              </a:lnSpc>
              <a:spcAft>
                <a:spcPct val="15000"/>
              </a:spcAft>
              <a:buFont typeface="Wingdings" panose="05000000000000000000" pitchFamily="2" charset="2"/>
              <a:buChar char="§"/>
              <a:defRPr/>
            </a:pPr>
            <a:r>
              <a:rPr lang="ms-MY" sz="12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 </a:t>
            </a:r>
            <a:r>
              <a:rPr lang="ms-MY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ounting </a:t>
            </a:r>
            <a:r>
              <a:rPr lang="ms-MY" sz="12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</a:t>
            </a:r>
            <a:endParaRPr lang="ms-MY" sz="12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algn="just" defTabSz="492382" latinLnBrk="1">
              <a:lnSpc>
                <a:spcPct val="150000"/>
              </a:lnSpc>
              <a:spcAft>
                <a:spcPct val="15000"/>
              </a:spcAft>
              <a:buFont typeface="Wingdings" panose="05000000000000000000" pitchFamily="2" charset="2"/>
              <a:buChar char="§"/>
              <a:defRPr/>
            </a:pPr>
            <a:r>
              <a:rPr lang="ms-MY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Gap Analysis.  </a:t>
            </a:r>
          </a:p>
          <a:p>
            <a:pPr marL="171450" lvl="1" indent="-171450" defTabSz="492382" latinLnBrk="1">
              <a:spcAft>
                <a:spcPct val="15000"/>
              </a:spcAft>
              <a:buFont typeface="Wingdings" panose="05000000000000000000" pitchFamily="2" charset="2"/>
              <a:buChar char="§"/>
              <a:defRPr/>
            </a:pPr>
            <a:r>
              <a:rPr lang="ms-MY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y integrated with OBB and </a:t>
            </a:r>
          </a:p>
          <a:p>
            <a:pPr marL="146447" lvl="1" defTabSz="492382" latinLnBrk="1">
              <a:spcAft>
                <a:spcPct val="15000"/>
              </a:spcAft>
              <a:defRPr/>
            </a:pPr>
            <a:r>
              <a:rPr lang="ms-MY" sz="1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relevant systems.</a:t>
            </a:r>
          </a:p>
          <a:p>
            <a:pPr marL="82430" lvl="1" indent="-82430" algn="just" defTabSz="492382" latinLnBrk="1">
              <a:lnSpc>
                <a:spcPct val="90000"/>
              </a:lnSpc>
              <a:spcAft>
                <a:spcPct val="15000"/>
              </a:spcAft>
              <a:buFontTx/>
              <a:buChar char="••"/>
              <a:defRPr/>
            </a:pPr>
            <a:endParaRPr lang="ms-MY" sz="12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8" name="Picture 67" descr="C:\Users\nfarahin.ali\Downloads\logo naps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45" y="207680"/>
            <a:ext cx="835006" cy="653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7349065" y="4786312"/>
            <a:ext cx="1600200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en-MY" altLang="en-US" sz="675" dirty="0" smtClean="0">
                <a:latin typeface="Cambria" panose="02040503050406030204" pitchFamily="18" charset="0"/>
              </a:rPr>
              <a:t>7</a:t>
            </a:r>
            <a:endParaRPr lang="en-MY" altLang="en-US" sz="675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7817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392145" y="105052"/>
            <a:ext cx="6483187" cy="763526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Journey </a:t>
            </a:r>
            <a:endParaRPr lang="en-US" sz="3200" b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C:\Users\nfarahin.ali\Downloads\logo naps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5545" y="180880"/>
            <a:ext cx="835006" cy="624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93"/>
          <p:cNvSpPr txBox="1">
            <a:spLocks noChangeArrowheads="1"/>
          </p:cNvSpPr>
          <p:nvPr/>
        </p:nvSpPr>
        <p:spPr bwMode="auto">
          <a:xfrm>
            <a:off x="1372238" y="1621714"/>
            <a:ext cx="1440456" cy="900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p Fit Analysis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M Lab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urement Process 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3525979" y="2741372"/>
            <a:ext cx="1022747" cy="154511"/>
          </a:xfrm>
          <a:custGeom>
            <a:avLst/>
            <a:gdLst>
              <a:gd name="T0" fmla="*/ 1363662 w 303"/>
              <a:gd name="T1" fmla="*/ 148562 h 67"/>
              <a:gd name="T2" fmla="*/ 1296154 w 303"/>
              <a:gd name="T3" fmla="*/ 0 h 67"/>
              <a:gd name="T4" fmla="*/ 0 w 303"/>
              <a:gd name="T5" fmla="*/ 0 h 67"/>
              <a:gd name="T6" fmla="*/ 45005 w 303"/>
              <a:gd name="T7" fmla="*/ 148562 h 67"/>
              <a:gd name="T8" fmla="*/ 0 w 303"/>
              <a:gd name="T9" fmla="*/ 301625 h 67"/>
              <a:gd name="T10" fmla="*/ 1296154 w 303"/>
              <a:gd name="T11" fmla="*/ 301625 h 67"/>
              <a:gd name="T12" fmla="*/ 1363662 w 303"/>
              <a:gd name="T13" fmla="*/ 148562 h 6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03" h="67">
                <a:moveTo>
                  <a:pt x="303" y="33"/>
                </a:moveTo>
                <a:cubicBezTo>
                  <a:pt x="303" y="20"/>
                  <a:pt x="297" y="8"/>
                  <a:pt x="288" y="0"/>
                </a:cubicBezTo>
                <a:cubicBezTo>
                  <a:pt x="0" y="0"/>
                  <a:pt x="0" y="0"/>
                  <a:pt x="0" y="0"/>
                </a:cubicBezTo>
                <a:cubicBezTo>
                  <a:pt x="6" y="9"/>
                  <a:pt x="10" y="21"/>
                  <a:pt x="10" y="33"/>
                </a:cubicBezTo>
                <a:cubicBezTo>
                  <a:pt x="10" y="46"/>
                  <a:pt x="6" y="57"/>
                  <a:pt x="0" y="67"/>
                </a:cubicBezTo>
                <a:cubicBezTo>
                  <a:pt x="288" y="67"/>
                  <a:pt x="288" y="67"/>
                  <a:pt x="288" y="67"/>
                </a:cubicBezTo>
                <a:cubicBezTo>
                  <a:pt x="297" y="59"/>
                  <a:pt x="303" y="47"/>
                  <a:pt x="303" y="33"/>
                </a:cubicBezTo>
                <a:close/>
              </a:path>
            </a:pathLst>
          </a:custGeom>
          <a:solidFill>
            <a:srgbClr val="065280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7" name="Freeform 8"/>
          <p:cNvSpPr>
            <a:spLocks/>
          </p:cNvSpPr>
          <p:nvPr/>
        </p:nvSpPr>
        <p:spPr bwMode="auto">
          <a:xfrm>
            <a:off x="4572538" y="2741372"/>
            <a:ext cx="1025128" cy="154511"/>
          </a:xfrm>
          <a:custGeom>
            <a:avLst/>
            <a:gdLst>
              <a:gd name="T0" fmla="*/ 1366837 w 304"/>
              <a:gd name="T1" fmla="*/ 148562 h 67"/>
              <a:gd name="T2" fmla="*/ 1294898 w 304"/>
              <a:gd name="T3" fmla="*/ 0 h 67"/>
              <a:gd name="T4" fmla="*/ 0 w 304"/>
              <a:gd name="T5" fmla="*/ 0 h 67"/>
              <a:gd name="T6" fmla="*/ 44962 w 304"/>
              <a:gd name="T7" fmla="*/ 148562 h 67"/>
              <a:gd name="T8" fmla="*/ 0 w 304"/>
              <a:gd name="T9" fmla="*/ 301625 h 67"/>
              <a:gd name="T10" fmla="*/ 1294898 w 304"/>
              <a:gd name="T11" fmla="*/ 301625 h 67"/>
              <a:gd name="T12" fmla="*/ 1366837 w 304"/>
              <a:gd name="T13" fmla="*/ 148562 h 6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04" h="67">
                <a:moveTo>
                  <a:pt x="304" y="33"/>
                </a:moveTo>
                <a:cubicBezTo>
                  <a:pt x="304" y="20"/>
                  <a:pt x="298" y="8"/>
                  <a:pt x="288" y="0"/>
                </a:cubicBezTo>
                <a:cubicBezTo>
                  <a:pt x="0" y="0"/>
                  <a:pt x="0" y="0"/>
                  <a:pt x="0" y="0"/>
                </a:cubicBezTo>
                <a:cubicBezTo>
                  <a:pt x="7" y="9"/>
                  <a:pt x="10" y="21"/>
                  <a:pt x="10" y="33"/>
                </a:cubicBezTo>
                <a:cubicBezTo>
                  <a:pt x="10" y="46"/>
                  <a:pt x="7" y="57"/>
                  <a:pt x="0" y="67"/>
                </a:cubicBezTo>
                <a:cubicBezTo>
                  <a:pt x="288" y="67"/>
                  <a:pt x="288" y="67"/>
                  <a:pt x="288" y="67"/>
                </a:cubicBezTo>
                <a:cubicBezTo>
                  <a:pt x="298" y="59"/>
                  <a:pt x="304" y="47"/>
                  <a:pt x="304" y="33"/>
                </a:cubicBezTo>
                <a:close/>
              </a:path>
            </a:pathLst>
          </a:custGeom>
          <a:solidFill>
            <a:srgbClr val="FFCC5E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8" name="Freeform 9"/>
          <p:cNvSpPr>
            <a:spLocks/>
          </p:cNvSpPr>
          <p:nvPr/>
        </p:nvSpPr>
        <p:spPr bwMode="auto">
          <a:xfrm>
            <a:off x="2480610" y="2741372"/>
            <a:ext cx="1021556" cy="154511"/>
          </a:xfrm>
          <a:custGeom>
            <a:avLst/>
            <a:gdLst>
              <a:gd name="T0" fmla="*/ 1362075 w 303"/>
              <a:gd name="T1" fmla="*/ 148562 h 67"/>
              <a:gd name="T2" fmla="*/ 1294646 w 303"/>
              <a:gd name="T3" fmla="*/ 0 h 67"/>
              <a:gd name="T4" fmla="*/ 0 w 303"/>
              <a:gd name="T5" fmla="*/ 0 h 67"/>
              <a:gd name="T6" fmla="*/ 44953 w 303"/>
              <a:gd name="T7" fmla="*/ 148562 h 67"/>
              <a:gd name="T8" fmla="*/ 0 w 303"/>
              <a:gd name="T9" fmla="*/ 301625 h 67"/>
              <a:gd name="T10" fmla="*/ 1294646 w 303"/>
              <a:gd name="T11" fmla="*/ 301625 h 67"/>
              <a:gd name="T12" fmla="*/ 1362075 w 303"/>
              <a:gd name="T13" fmla="*/ 148562 h 6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03" h="67">
                <a:moveTo>
                  <a:pt x="303" y="33"/>
                </a:moveTo>
                <a:cubicBezTo>
                  <a:pt x="303" y="20"/>
                  <a:pt x="297" y="8"/>
                  <a:pt x="288" y="0"/>
                </a:cubicBezTo>
                <a:cubicBezTo>
                  <a:pt x="0" y="0"/>
                  <a:pt x="0" y="0"/>
                  <a:pt x="0" y="0"/>
                </a:cubicBezTo>
                <a:cubicBezTo>
                  <a:pt x="6" y="9"/>
                  <a:pt x="10" y="21"/>
                  <a:pt x="10" y="33"/>
                </a:cubicBezTo>
                <a:cubicBezTo>
                  <a:pt x="10" y="46"/>
                  <a:pt x="6" y="57"/>
                  <a:pt x="0" y="67"/>
                </a:cubicBezTo>
                <a:cubicBezTo>
                  <a:pt x="288" y="67"/>
                  <a:pt x="288" y="67"/>
                  <a:pt x="288" y="67"/>
                </a:cubicBezTo>
                <a:cubicBezTo>
                  <a:pt x="297" y="59"/>
                  <a:pt x="303" y="47"/>
                  <a:pt x="303" y="33"/>
                </a:cubicBezTo>
                <a:close/>
              </a:path>
            </a:pathLst>
          </a:custGeom>
          <a:solidFill>
            <a:srgbClr val="34B2E3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2" name="Freeform 10"/>
          <p:cNvSpPr>
            <a:spLocks/>
          </p:cNvSpPr>
          <p:nvPr/>
        </p:nvSpPr>
        <p:spPr bwMode="auto">
          <a:xfrm>
            <a:off x="1470043" y="2741372"/>
            <a:ext cx="1022747" cy="154511"/>
          </a:xfrm>
          <a:custGeom>
            <a:avLst/>
            <a:gdLst>
              <a:gd name="T0" fmla="*/ 1363662 w 303"/>
              <a:gd name="T1" fmla="*/ 148562 h 67"/>
              <a:gd name="T2" fmla="*/ 1291653 w 303"/>
              <a:gd name="T3" fmla="*/ 0 h 67"/>
              <a:gd name="T4" fmla="*/ 0 w 303"/>
              <a:gd name="T5" fmla="*/ 0 h 67"/>
              <a:gd name="T6" fmla="*/ 45005 w 303"/>
              <a:gd name="T7" fmla="*/ 148562 h 67"/>
              <a:gd name="T8" fmla="*/ 0 w 303"/>
              <a:gd name="T9" fmla="*/ 301625 h 67"/>
              <a:gd name="T10" fmla="*/ 1291653 w 303"/>
              <a:gd name="T11" fmla="*/ 301625 h 67"/>
              <a:gd name="T12" fmla="*/ 1363662 w 303"/>
              <a:gd name="T13" fmla="*/ 148562 h 6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03" h="67">
                <a:moveTo>
                  <a:pt x="303" y="33"/>
                </a:moveTo>
                <a:cubicBezTo>
                  <a:pt x="303" y="20"/>
                  <a:pt x="297" y="8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6" y="9"/>
                  <a:pt x="10" y="21"/>
                  <a:pt x="10" y="33"/>
                </a:cubicBezTo>
                <a:cubicBezTo>
                  <a:pt x="10" y="46"/>
                  <a:pt x="6" y="57"/>
                  <a:pt x="0" y="67"/>
                </a:cubicBezTo>
                <a:cubicBezTo>
                  <a:pt x="287" y="67"/>
                  <a:pt x="287" y="67"/>
                  <a:pt x="287" y="67"/>
                </a:cubicBezTo>
                <a:cubicBezTo>
                  <a:pt x="297" y="59"/>
                  <a:pt x="303" y="47"/>
                  <a:pt x="303" y="33"/>
                </a:cubicBezTo>
                <a:close/>
              </a:path>
            </a:pathLst>
          </a:custGeom>
          <a:solidFill>
            <a:srgbClr val="69D1DA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5617907" y="2741372"/>
            <a:ext cx="1026319" cy="154511"/>
          </a:xfrm>
          <a:custGeom>
            <a:avLst/>
            <a:gdLst>
              <a:gd name="T0" fmla="*/ 1368425 w 304"/>
              <a:gd name="T1" fmla="*/ 148562 h 67"/>
              <a:gd name="T2" fmla="*/ 1296403 w 304"/>
              <a:gd name="T3" fmla="*/ 0 h 67"/>
              <a:gd name="T4" fmla="*/ 0 w 304"/>
              <a:gd name="T5" fmla="*/ 0 h 67"/>
              <a:gd name="T6" fmla="*/ 49515 w 304"/>
              <a:gd name="T7" fmla="*/ 148562 h 67"/>
              <a:gd name="T8" fmla="*/ 0 w 304"/>
              <a:gd name="T9" fmla="*/ 301625 h 67"/>
              <a:gd name="T10" fmla="*/ 1296403 w 304"/>
              <a:gd name="T11" fmla="*/ 301625 h 67"/>
              <a:gd name="T12" fmla="*/ 1368425 w 304"/>
              <a:gd name="T13" fmla="*/ 148562 h 6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04" h="67">
                <a:moveTo>
                  <a:pt x="304" y="33"/>
                </a:moveTo>
                <a:cubicBezTo>
                  <a:pt x="304" y="20"/>
                  <a:pt x="298" y="8"/>
                  <a:pt x="288" y="0"/>
                </a:cubicBezTo>
                <a:cubicBezTo>
                  <a:pt x="0" y="0"/>
                  <a:pt x="0" y="0"/>
                  <a:pt x="0" y="0"/>
                </a:cubicBezTo>
                <a:cubicBezTo>
                  <a:pt x="7" y="9"/>
                  <a:pt x="11" y="21"/>
                  <a:pt x="11" y="33"/>
                </a:cubicBezTo>
                <a:cubicBezTo>
                  <a:pt x="11" y="46"/>
                  <a:pt x="7" y="57"/>
                  <a:pt x="0" y="67"/>
                </a:cubicBezTo>
                <a:cubicBezTo>
                  <a:pt x="288" y="67"/>
                  <a:pt x="288" y="67"/>
                  <a:pt x="288" y="67"/>
                </a:cubicBezTo>
                <a:cubicBezTo>
                  <a:pt x="298" y="59"/>
                  <a:pt x="304" y="47"/>
                  <a:pt x="304" y="33"/>
                </a:cubicBezTo>
                <a:close/>
              </a:path>
            </a:pathLst>
          </a:custGeom>
          <a:solidFill>
            <a:srgbClr val="FF9430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4" name="Freeform 13"/>
          <p:cNvSpPr>
            <a:spLocks/>
          </p:cNvSpPr>
          <p:nvPr/>
        </p:nvSpPr>
        <p:spPr bwMode="auto">
          <a:xfrm>
            <a:off x="6668038" y="2741372"/>
            <a:ext cx="1021556" cy="154511"/>
          </a:xfrm>
          <a:custGeom>
            <a:avLst/>
            <a:gdLst>
              <a:gd name="T0" fmla="*/ 1362075 w 303"/>
              <a:gd name="T1" fmla="*/ 148562 h 67"/>
              <a:gd name="T2" fmla="*/ 1290150 w 303"/>
              <a:gd name="T3" fmla="*/ 0 h 67"/>
              <a:gd name="T4" fmla="*/ 0 w 303"/>
              <a:gd name="T5" fmla="*/ 0 h 67"/>
              <a:gd name="T6" fmla="*/ 44953 w 303"/>
              <a:gd name="T7" fmla="*/ 148562 h 67"/>
              <a:gd name="T8" fmla="*/ 0 w 303"/>
              <a:gd name="T9" fmla="*/ 301625 h 67"/>
              <a:gd name="T10" fmla="*/ 1290150 w 303"/>
              <a:gd name="T11" fmla="*/ 301625 h 67"/>
              <a:gd name="T12" fmla="*/ 1362075 w 303"/>
              <a:gd name="T13" fmla="*/ 148562 h 6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03" h="67">
                <a:moveTo>
                  <a:pt x="303" y="33"/>
                </a:moveTo>
                <a:cubicBezTo>
                  <a:pt x="303" y="20"/>
                  <a:pt x="297" y="8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6" y="9"/>
                  <a:pt x="10" y="21"/>
                  <a:pt x="10" y="33"/>
                </a:cubicBezTo>
                <a:cubicBezTo>
                  <a:pt x="10" y="46"/>
                  <a:pt x="6" y="57"/>
                  <a:pt x="0" y="67"/>
                </a:cubicBezTo>
                <a:cubicBezTo>
                  <a:pt x="287" y="67"/>
                  <a:pt x="287" y="67"/>
                  <a:pt x="287" y="67"/>
                </a:cubicBezTo>
                <a:cubicBezTo>
                  <a:pt x="297" y="59"/>
                  <a:pt x="303" y="47"/>
                  <a:pt x="303" y="33"/>
                </a:cubicBezTo>
                <a:close/>
              </a:path>
            </a:pathLst>
          </a:custGeom>
          <a:solidFill>
            <a:srgbClr val="E24E5A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/>
        </p:nvSpPr>
        <p:spPr bwMode="auto">
          <a:xfrm>
            <a:off x="7713406" y="2741372"/>
            <a:ext cx="1022747" cy="154511"/>
          </a:xfrm>
          <a:custGeom>
            <a:avLst/>
            <a:gdLst>
              <a:gd name="T0" fmla="*/ 1363662 w 303"/>
              <a:gd name="T1" fmla="*/ 148562 h 67"/>
              <a:gd name="T2" fmla="*/ 1296154 w 303"/>
              <a:gd name="T3" fmla="*/ 0 h 67"/>
              <a:gd name="T4" fmla="*/ 0 w 303"/>
              <a:gd name="T5" fmla="*/ 0 h 67"/>
              <a:gd name="T6" fmla="*/ 45005 w 303"/>
              <a:gd name="T7" fmla="*/ 148562 h 67"/>
              <a:gd name="T8" fmla="*/ 0 w 303"/>
              <a:gd name="T9" fmla="*/ 301625 h 67"/>
              <a:gd name="T10" fmla="*/ 1296154 w 303"/>
              <a:gd name="T11" fmla="*/ 301625 h 67"/>
              <a:gd name="T12" fmla="*/ 1363662 w 303"/>
              <a:gd name="T13" fmla="*/ 148562 h 6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03" h="67">
                <a:moveTo>
                  <a:pt x="303" y="33"/>
                </a:moveTo>
                <a:cubicBezTo>
                  <a:pt x="303" y="20"/>
                  <a:pt x="297" y="8"/>
                  <a:pt x="288" y="0"/>
                </a:cubicBezTo>
                <a:cubicBezTo>
                  <a:pt x="0" y="0"/>
                  <a:pt x="0" y="0"/>
                  <a:pt x="0" y="0"/>
                </a:cubicBezTo>
                <a:cubicBezTo>
                  <a:pt x="6" y="9"/>
                  <a:pt x="10" y="21"/>
                  <a:pt x="10" y="33"/>
                </a:cubicBezTo>
                <a:cubicBezTo>
                  <a:pt x="10" y="46"/>
                  <a:pt x="6" y="57"/>
                  <a:pt x="0" y="67"/>
                </a:cubicBezTo>
                <a:cubicBezTo>
                  <a:pt x="288" y="67"/>
                  <a:pt x="288" y="67"/>
                  <a:pt x="288" y="67"/>
                </a:cubicBezTo>
                <a:cubicBezTo>
                  <a:pt x="297" y="59"/>
                  <a:pt x="303" y="47"/>
                  <a:pt x="303" y="33"/>
                </a:cubicBezTo>
                <a:close/>
              </a:path>
            </a:pathLst>
          </a:custGeom>
          <a:solidFill>
            <a:srgbClr val="8C133F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5501248" y="2433595"/>
            <a:ext cx="122629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-2017</a:t>
            </a:r>
            <a:endParaRPr lang="en-US" alt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3681766" y="2419354"/>
            <a:ext cx="5706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  <a:endParaRPr lang="en-US" alt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1628420" y="2405287"/>
            <a:ext cx="5706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2</a:t>
            </a:r>
            <a:endParaRPr lang="en-US" alt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4710648" y="2880415"/>
            <a:ext cx="5706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</a:t>
            </a:r>
            <a:endParaRPr lang="en-US" alt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6913957" y="2883660"/>
            <a:ext cx="5706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en-US" alt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2726267" y="2913530"/>
            <a:ext cx="5706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3</a:t>
            </a:r>
            <a:endParaRPr lang="en-US" alt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2"/>
          <p:cNvSpPr>
            <a:spLocks noChangeArrowheads="1"/>
          </p:cNvSpPr>
          <p:nvPr/>
        </p:nvSpPr>
        <p:spPr bwMode="auto">
          <a:xfrm>
            <a:off x="7875332" y="2391940"/>
            <a:ext cx="5706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en-US" alt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Line 23"/>
          <p:cNvSpPr>
            <a:spLocks noChangeShapeType="1"/>
          </p:cNvSpPr>
          <p:nvPr/>
        </p:nvSpPr>
        <p:spPr bwMode="auto">
          <a:xfrm flipV="1">
            <a:off x="7208229" y="2071837"/>
            <a:ext cx="0" cy="556238"/>
          </a:xfrm>
          <a:prstGeom prst="line">
            <a:avLst/>
          </a:prstGeom>
          <a:noFill/>
          <a:ln w="34925">
            <a:solidFill>
              <a:srgbClr val="41404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 flipV="1">
            <a:off x="5092974" y="2019903"/>
            <a:ext cx="0" cy="556238"/>
          </a:xfrm>
          <a:prstGeom prst="line">
            <a:avLst/>
          </a:prstGeom>
          <a:noFill/>
          <a:ln w="34925">
            <a:solidFill>
              <a:srgbClr val="41404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25" name="Line 25"/>
          <p:cNvSpPr>
            <a:spLocks noChangeShapeType="1"/>
          </p:cNvSpPr>
          <p:nvPr/>
        </p:nvSpPr>
        <p:spPr bwMode="auto">
          <a:xfrm flipV="1">
            <a:off x="2995082" y="2089965"/>
            <a:ext cx="0" cy="556238"/>
          </a:xfrm>
          <a:prstGeom prst="line">
            <a:avLst/>
          </a:prstGeom>
          <a:noFill/>
          <a:ln w="34925">
            <a:solidFill>
              <a:srgbClr val="41404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26" name="Line 26"/>
          <p:cNvSpPr>
            <a:spLocks noChangeShapeType="1"/>
          </p:cNvSpPr>
          <p:nvPr/>
        </p:nvSpPr>
        <p:spPr bwMode="auto">
          <a:xfrm>
            <a:off x="1913754" y="3074643"/>
            <a:ext cx="0" cy="558677"/>
          </a:xfrm>
          <a:prstGeom prst="line">
            <a:avLst/>
          </a:prstGeom>
          <a:noFill/>
          <a:ln w="34925">
            <a:solidFill>
              <a:srgbClr val="41404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27" name="Line 27"/>
          <p:cNvSpPr>
            <a:spLocks noChangeShapeType="1"/>
          </p:cNvSpPr>
          <p:nvPr/>
        </p:nvSpPr>
        <p:spPr bwMode="auto">
          <a:xfrm>
            <a:off x="4017341" y="3123972"/>
            <a:ext cx="0" cy="558677"/>
          </a:xfrm>
          <a:prstGeom prst="line">
            <a:avLst/>
          </a:prstGeom>
          <a:noFill/>
          <a:ln w="34925">
            <a:solidFill>
              <a:srgbClr val="41404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28" name="Line 28"/>
          <p:cNvSpPr>
            <a:spLocks noChangeShapeType="1"/>
          </p:cNvSpPr>
          <p:nvPr/>
        </p:nvSpPr>
        <p:spPr bwMode="auto">
          <a:xfrm>
            <a:off x="6112303" y="3016653"/>
            <a:ext cx="0" cy="558677"/>
          </a:xfrm>
          <a:prstGeom prst="line">
            <a:avLst/>
          </a:prstGeom>
          <a:noFill/>
          <a:ln w="34925">
            <a:solidFill>
              <a:srgbClr val="41404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29" name="Line 30"/>
          <p:cNvSpPr>
            <a:spLocks noChangeShapeType="1"/>
          </p:cNvSpPr>
          <p:nvPr/>
        </p:nvSpPr>
        <p:spPr bwMode="auto">
          <a:xfrm>
            <a:off x="8195497" y="2983845"/>
            <a:ext cx="0" cy="558677"/>
          </a:xfrm>
          <a:prstGeom prst="line">
            <a:avLst/>
          </a:prstGeom>
          <a:noFill/>
          <a:ln w="34925">
            <a:solidFill>
              <a:srgbClr val="41404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30" name="Oval 31"/>
          <p:cNvSpPr>
            <a:spLocks noChangeArrowheads="1"/>
          </p:cNvSpPr>
          <p:nvPr/>
        </p:nvSpPr>
        <p:spPr bwMode="auto">
          <a:xfrm>
            <a:off x="6887113" y="1559263"/>
            <a:ext cx="583406" cy="360771"/>
          </a:xfrm>
          <a:prstGeom prst="ellipse">
            <a:avLst/>
          </a:prstGeom>
          <a:solidFill>
            <a:srgbClr val="E24E5A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350">
              <a:solidFill>
                <a:prstClr val="black"/>
              </a:solidFill>
            </a:endParaRPr>
          </a:p>
        </p:txBody>
      </p:sp>
      <p:sp>
        <p:nvSpPr>
          <p:cNvPr id="31" name="Oval 32"/>
          <p:cNvSpPr>
            <a:spLocks noChangeArrowheads="1"/>
          </p:cNvSpPr>
          <p:nvPr/>
        </p:nvSpPr>
        <p:spPr bwMode="auto">
          <a:xfrm>
            <a:off x="4795185" y="1559263"/>
            <a:ext cx="579835" cy="360771"/>
          </a:xfrm>
          <a:prstGeom prst="ellipse">
            <a:avLst/>
          </a:prstGeom>
          <a:solidFill>
            <a:srgbClr val="FFCC5E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350">
              <a:solidFill>
                <a:prstClr val="black"/>
              </a:solidFill>
            </a:endParaRPr>
          </a:p>
        </p:txBody>
      </p:sp>
      <p:sp>
        <p:nvSpPr>
          <p:cNvPr id="32" name="Oval 33"/>
          <p:cNvSpPr>
            <a:spLocks noChangeArrowheads="1"/>
          </p:cNvSpPr>
          <p:nvPr/>
        </p:nvSpPr>
        <p:spPr bwMode="auto">
          <a:xfrm>
            <a:off x="2726267" y="1597559"/>
            <a:ext cx="556824" cy="348442"/>
          </a:xfrm>
          <a:prstGeom prst="ellipse">
            <a:avLst/>
          </a:prstGeom>
          <a:solidFill>
            <a:srgbClr val="34B2E3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350">
              <a:solidFill>
                <a:prstClr val="black"/>
              </a:solidFill>
            </a:endParaRPr>
          </a:p>
        </p:txBody>
      </p:sp>
      <p:sp>
        <p:nvSpPr>
          <p:cNvPr id="34" name="Oval 35"/>
          <p:cNvSpPr>
            <a:spLocks noChangeArrowheads="1"/>
          </p:cNvSpPr>
          <p:nvPr/>
        </p:nvSpPr>
        <p:spPr bwMode="auto">
          <a:xfrm>
            <a:off x="3760828" y="3790596"/>
            <a:ext cx="581025" cy="396848"/>
          </a:xfrm>
          <a:prstGeom prst="ellipse">
            <a:avLst/>
          </a:prstGeom>
          <a:solidFill>
            <a:srgbClr val="06528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350">
              <a:solidFill>
                <a:prstClr val="black"/>
              </a:solidFill>
            </a:endParaRPr>
          </a:p>
        </p:txBody>
      </p:sp>
      <p:sp>
        <p:nvSpPr>
          <p:cNvPr id="35" name="Oval 36"/>
          <p:cNvSpPr>
            <a:spLocks noChangeArrowheads="1"/>
          </p:cNvSpPr>
          <p:nvPr/>
        </p:nvSpPr>
        <p:spPr bwMode="auto">
          <a:xfrm>
            <a:off x="5908496" y="3891460"/>
            <a:ext cx="581025" cy="396848"/>
          </a:xfrm>
          <a:prstGeom prst="ellipse">
            <a:avLst/>
          </a:prstGeom>
          <a:solidFill>
            <a:srgbClr val="FF912B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350">
              <a:solidFill>
                <a:prstClr val="black"/>
              </a:solidFill>
            </a:endParaRPr>
          </a:p>
        </p:txBody>
      </p:sp>
      <p:sp>
        <p:nvSpPr>
          <p:cNvPr id="36" name="Oval 38"/>
          <p:cNvSpPr>
            <a:spLocks noChangeArrowheads="1"/>
          </p:cNvSpPr>
          <p:nvPr/>
        </p:nvSpPr>
        <p:spPr bwMode="auto">
          <a:xfrm>
            <a:off x="7909332" y="3824410"/>
            <a:ext cx="583406" cy="396848"/>
          </a:xfrm>
          <a:prstGeom prst="ellipse">
            <a:avLst/>
          </a:prstGeom>
          <a:solidFill>
            <a:srgbClr val="8C133F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350">
              <a:solidFill>
                <a:prstClr val="black"/>
              </a:solidFill>
            </a:endParaRPr>
          </a:p>
        </p:txBody>
      </p:sp>
      <p:sp>
        <p:nvSpPr>
          <p:cNvPr id="37" name="Freeform 39"/>
          <p:cNvSpPr>
            <a:spLocks noEditPoints="1"/>
          </p:cNvSpPr>
          <p:nvPr/>
        </p:nvSpPr>
        <p:spPr bwMode="auto">
          <a:xfrm>
            <a:off x="2848513" y="1632226"/>
            <a:ext cx="286940" cy="213654"/>
          </a:xfrm>
          <a:custGeom>
            <a:avLst/>
            <a:gdLst>
              <a:gd name="T0" fmla="*/ 144033 w 85"/>
              <a:gd name="T1" fmla="*/ 458788 h 102"/>
              <a:gd name="T2" fmla="*/ 144033 w 85"/>
              <a:gd name="T3" fmla="*/ 427303 h 102"/>
              <a:gd name="T4" fmla="*/ 256558 w 85"/>
              <a:gd name="T5" fmla="*/ 400315 h 102"/>
              <a:gd name="T6" fmla="*/ 126029 w 85"/>
              <a:gd name="T7" fmla="*/ 400315 h 102"/>
              <a:gd name="T8" fmla="*/ 238554 w 85"/>
              <a:gd name="T9" fmla="*/ 418307 h 102"/>
              <a:gd name="T10" fmla="*/ 184542 w 85"/>
              <a:gd name="T11" fmla="*/ 224896 h 102"/>
              <a:gd name="T12" fmla="*/ 189043 w 85"/>
              <a:gd name="T13" fmla="*/ 377825 h 102"/>
              <a:gd name="T14" fmla="*/ 193544 w 85"/>
              <a:gd name="T15" fmla="*/ 377825 h 102"/>
              <a:gd name="T16" fmla="*/ 207047 w 85"/>
              <a:gd name="T17" fmla="*/ 224896 h 102"/>
              <a:gd name="T18" fmla="*/ 139532 w 85"/>
              <a:gd name="T19" fmla="*/ 211402 h 102"/>
              <a:gd name="T20" fmla="*/ 139532 w 85"/>
              <a:gd name="T21" fmla="*/ 166423 h 102"/>
              <a:gd name="T22" fmla="*/ 220550 w 85"/>
              <a:gd name="T23" fmla="*/ 188913 h 102"/>
              <a:gd name="T24" fmla="*/ 270061 w 85"/>
              <a:gd name="T25" fmla="*/ 188913 h 102"/>
              <a:gd name="T26" fmla="*/ 63014 w 85"/>
              <a:gd name="T27" fmla="*/ 148431 h 102"/>
              <a:gd name="T28" fmla="*/ 130530 w 85"/>
              <a:gd name="T29" fmla="*/ 359834 h 102"/>
              <a:gd name="T30" fmla="*/ 162037 w 85"/>
              <a:gd name="T31" fmla="*/ 224896 h 102"/>
              <a:gd name="T32" fmla="*/ 99023 w 85"/>
              <a:gd name="T33" fmla="*/ 188913 h 102"/>
              <a:gd name="T34" fmla="*/ 175540 w 85"/>
              <a:gd name="T35" fmla="*/ 188913 h 102"/>
              <a:gd name="T36" fmla="*/ 184542 w 85"/>
              <a:gd name="T37" fmla="*/ 211402 h 102"/>
              <a:gd name="T38" fmla="*/ 207047 w 85"/>
              <a:gd name="T39" fmla="*/ 188913 h 102"/>
              <a:gd name="T40" fmla="*/ 270061 w 85"/>
              <a:gd name="T41" fmla="*/ 161925 h 102"/>
              <a:gd name="T42" fmla="*/ 243055 w 85"/>
              <a:gd name="T43" fmla="*/ 224896 h 102"/>
              <a:gd name="T44" fmla="*/ 229552 w 85"/>
              <a:gd name="T45" fmla="*/ 377825 h 102"/>
              <a:gd name="T46" fmla="*/ 306070 w 85"/>
              <a:gd name="T47" fmla="*/ 238390 h 102"/>
              <a:gd name="T48" fmla="*/ 193544 w 85"/>
              <a:gd name="T49" fmla="*/ 0 h 102"/>
              <a:gd name="T50" fmla="*/ 180041 w 85"/>
              <a:gd name="T51" fmla="*/ 40481 h 102"/>
              <a:gd name="T52" fmla="*/ 207047 w 85"/>
              <a:gd name="T53" fmla="*/ 40481 h 102"/>
              <a:gd name="T54" fmla="*/ 279063 w 85"/>
              <a:gd name="T55" fmla="*/ 17992 h 102"/>
              <a:gd name="T56" fmla="*/ 247556 w 85"/>
              <a:gd name="T57" fmla="*/ 44979 h 102"/>
              <a:gd name="T58" fmla="*/ 270061 w 85"/>
              <a:gd name="T59" fmla="*/ 58473 h 102"/>
              <a:gd name="T60" fmla="*/ 342078 w 85"/>
              <a:gd name="T61" fmla="*/ 62971 h 102"/>
              <a:gd name="T62" fmla="*/ 301569 w 85"/>
              <a:gd name="T63" fmla="*/ 80963 h 102"/>
              <a:gd name="T64" fmla="*/ 319573 w 85"/>
              <a:gd name="T65" fmla="*/ 98954 h 102"/>
              <a:gd name="T66" fmla="*/ 382587 w 85"/>
              <a:gd name="T67" fmla="*/ 134938 h 102"/>
              <a:gd name="T68" fmla="*/ 342078 w 85"/>
              <a:gd name="T69" fmla="*/ 125942 h 102"/>
              <a:gd name="T70" fmla="*/ 346579 w 85"/>
              <a:gd name="T71" fmla="*/ 157427 h 102"/>
              <a:gd name="T72" fmla="*/ 382587 w 85"/>
              <a:gd name="T73" fmla="*/ 215900 h 102"/>
              <a:gd name="T74" fmla="*/ 346579 w 85"/>
              <a:gd name="T75" fmla="*/ 193411 h 102"/>
              <a:gd name="T76" fmla="*/ 337577 w 85"/>
              <a:gd name="T77" fmla="*/ 220398 h 102"/>
              <a:gd name="T78" fmla="*/ 130530 w 85"/>
              <a:gd name="T79" fmla="*/ 67469 h 102"/>
              <a:gd name="T80" fmla="*/ 121528 w 85"/>
              <a:gd name="T81" fmla="*/ 22490 h 102"/>
              <a:gd name="T82" fmla="*/ 99023 w 85"/>
              <a:gd name="T83" fmla="*/ 35983 h 102"/>
              <a:gd name="T84" fmla="*/ 81018 w 85"/>
              <a:gd name="T85" fmla="*/ 98954 h 102"/>
              <a:gd name="T86" fmla="*/ 58513 w 85"/>
              <a:gd name="T87" fmla="*/ 62971 h 102"/>
              <a:gd name="T88" fmla="*/ 40509 w 85"/>
              <a:gd name="T89" fmla="*/ 80963 h 102"/>
              <a:gd name="T90" fmla="*/ 54012 w 85"/>
              <a:gd name="T91" fmla="*/ 143933 h 102"/>
              <a:gd name="T92" fmla="*/ 18004 w 85"/>
              <a:gd name="T93" fmla="*/ 121444 h 102"/>
              <a:gd name="T94" fmla="*/ 9002 w 85"/>
              <a:gd name="T95" fmla="*/ 152929 h 102"/>
              <a:gd name="T96" fmla="*/ 54012 w 85"/>
              <a:gd name="T97" fmla="*/ 202406 h 102"/>
              <a:gd name="T98" fmla="*/ 13503 w 85"/>
              <a:gd name="T99" fmla="*/ 197909 h 102"/>
              <a:gd name="T100" fmla="*/ 18004 w 85"/>
              <a:gd name="T101" fmla="*/ 224896 h 1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85" h="102">
                <a:moveTo>
                  <a:pt x="57" y="99"/>
                </a:moveTo>
                <a:cubicBezTo>
                  <a:pt x="57" y="101"/>
                  <a:pt x="55" y="102"/>
                  <a:pt x="53" y="102"/>
                </a:cubicBezTo>
                <a:cubicBezTo>
                  <a:pt x="32" y="102"/>
                  <a:pt x="32" y="102"/>
                  <a:pt x="32" y="102"/>
                </a:cubicBezTo>
                <a:cubicBezTo>
                  <a:pt x="30" y="102"/>
                  <a:pt x="28" y="101"/>
                  <a:pt x="28" y="99"/>
                </a:cubicBezTo>
                <a:cubicBezTo>
                  <a:pt x="28" y="99"/>
                  <a:pt x="28" y="99"/>
                  <a:pt x="28" y="99"/>
                </a:cubicBezTo>
                <a:cubicBezTo>
                  <a:pt x="28" y="97"/>
                  <a:pt x="30" y="95"/>
                  <a:pt x="32" y="95"/>
                </a:cubicBezTo>
                <a:cubicBezTo>
                  <a:pt x="53" y="95"/>
                  <a:pt x="53" y="95"/>
                  <a:pt x="53" y="95"/>
                </a:cubicBezTo>
                <a:cubicBezTo>
                  <a:pt x="55" y="95"/>
                  <a:pt x="57" y="97"/>
                  <a:pt x="57" y="99"/>
                </a:cubicBezTo>
                <a:close/>
                <a:moveTo>
                  <a:pt x="57" y="89"/>
                </a:moveTo>
                <a:cubicBezTo>
                  <a:pt x="57" y="87"/>
                  <a:pt x="55" y="86"/>
                  <a:pt x="53" y="86"/>
                </a:cubicBezTo>
                <a:cubicBezTo>
                  <a:pt x="32" y="86"/>
                  <a:pt x="32" y="86"/>
                  <a:pt x="32" y="86"/>
                </a:cubicBezTo>
                <a:cubicBezTo>
                  <a:pt x="30" y="86"/>
                  <a:pt x="28" y="87"/>
                  <a:pt x="28" y="89"/>
                </a:cubicBezTo>
                <a:cubicBezTo>
                  <a:pt x="28" y="89"/>
                  <a:pt x="28" y="89"/>
                  <a:pt x="28" y="89"/>
                </a:cubicBezTo>
                <a:cubicBezTo>
                  <a:pt x="28" y="91"/>
                  <a:pt x="30" y="93"/>
                  <a:pt x="32" y="93"/>
                </a:cubicBezTo>
                <a:cubicBezTo>
                  <a:pt x="53" y="93"/>
                  <a:pt x="53" y="93"/>
                  <a:pt x="53" y="93"/>
                </a:cubicBezTo>
                <a:cubicBezTo>
                  <a:pt x="55" y="93"/>
                  <a:pt x="57" y="91"/>
                  <a:pt x="57" y="89"/>
                </a:cubicBezTo>
                <a:close/>
                <a:moveTo>
                  <a:pt x="46" y="50"/>
                </a:moveTo>
                <a:cubicBezTo>
                  <a:pt x="41" y="50"/>
                  <a:pt x="41" y="50"/>
                  <a:pt x="41" y="50"/>
                </a:cubicBezTo>
                <a:cubicBezTo>
                  <a:pt x="39" y="50"/>
                  <a:pt x="39" y="50"/>
                  <a:pt x="39" y="50"/>
                </a:cubicBezTo>
                <a:cubicBezTo>
                  <a:pt x="39" y="84"/>
                  <a:pt x="39" y="84"/>
                  <a:pt x="39" y="84"/>
                </a:cubicBezTo>
                <a:cubicBezTo>
                  <a:pt x="40" y="84"/>
                  <a:pt x="41" y="84"/>
                  <a:pt x="42" y="84"/>
                </a:cubicBezTo>
                <a:cubicBezTo>
                  <a:pt x="42" y="84"/>
                  <a:pt x="42" y="84"/>
                  <a:pt x="42" y="84"/>
                </a:cubicBezTo>
                <a:cubicBezTo>
                  <a:pt x="43" y="84"/>
                  <a:pt x="43" y="84"/>
                  <a:pt x="43" y="84"/>
                </a:cubicBezTo>
                <a:cubicBezTo>
                  <a:pt x="43" y="84"/>
                  <a:pt x="43" y="84"/>
                  <a:pt x="43" y="84"/>
                </a:cubicBezTo>
                <a:cubicBezTo>
                  <a:pt x="43" y="84"/>
                  <a:pt x="43" y="84"/>
                  <a:pt x="43" y="84"/>
                </a:cubicBezTo>
                <a:cubicBezTo>
                  <a:pt x="44" y="84"/>
                  <a:pt x="45" y="84"/>
                  <a:pt x="46" y="84"/>
                </a:cubicBezTo>
                <a:lnTo>
                  <a:pt x="46" y="50"/>
                </a:lnTo>
                <a:close/>
                <a:moveTo>
                  <a:pt x="31" y="37"/>
                </a:moveTo>
                <a:cubicBezTo>
                  <a:pt x="28" y="37"/>
                  <a:pt x="26" y="39"/>
                  <a:pt x="26" y="42"/>
                </a:cubicBezTo>
                <a:cubicBezTo>
                  <a:pt x="26" y="45"/>
                  <a:pt x="28" y="47"/>
                  <a:pt x="31" y="47"/>
                </a:cubicBezTo>
                <a:cubicBezTo>
                  <a:pt x="36" y="47"/>
                  <a:pt x="36" y="47"/>
                  <a:pt x="36" y="47"/>
                </a:cubicBezTo>
                <a:cubicBezTo>
                  <a:pt x="36" y="42"/>
                  <a:pt x="36" y="42"/>
                  <a:pt x="36" y="42"/>
                </a:cubicBezTo>
                <a:cubicBezTo>
                  <a:pt x="36" y="39"/>
                  <a:pt x="34" y="37"/>
                  <a:pt x="31" y="37"/>
                </a:cubicBezTo>
                <a:close/>
                <a:moveTo>
                  <a:pt x="60" y="42"/>
                </a:moveTo>
                <a:cubicBezTo>
                  <a:pt x="60" y="39"/>
                  <a:pt x="57" y="37"/>
                  <a:pt x="54" y="37"/>
                </a:cubicBezTo>
                <a:cubicBezTo>
                  <a:pt x="52" y="37"/>
                  <a:pt x="49" y="39"/>
                  <a:pt x="49" y="42"/>
                </a:cubicBezTo>
                <a:cubicBezTo>
                  <a:pt x="49" y="47"/>
                  <a:pt x="49" y="47"/>
                  <a:pt x="49" y="47"/>
                </a:cubicBezTo>
                <a:cubicBezTo>
                  <a:pt x="54" y="47"/>
                  <a:pt x="54" y="47"/>
                  <a:pt x="54" y="47"/>
                </a:cubicBezTo>
                <a:cubicBezTo>
                  <a:pt x="57" y="47"/>
                  <a:pt x="60" y="45"/>
                  <a:pt x="60" y="42"/>
                </a:cubicBezTo>
                <a:close/>
                <a:moveTo>
                  <a:pt x="71" y="33"/>
                </a:moveTo>
                <a:cubicBezTo>
                  <a:pt x="69" y="24"/>
                  <a:pt x="58" y="14"/>
                  <a:pt x="43" y="14"/>
                </a:cubicBezTo>
                <a:cubicBezTo>
                  <a:pt x="28" y="14"/>
                  <a:pt x="17" y="24"/>
                  <a:pt x="14" y="33"/>
                </a:cubicBezTo>
                <a:cubicBezTo>
                  <a:pt x="13" y="40"/>
                  <a:pt x="14" y="46"/>
                  <a:pt x="18" y="53"/>
                </a:cubicBezTo>
                <a:cubicBezTo>
                  <a:pt x="21" y="58"/>
                  <a:pt x="24" y="63"/>
                  <a:pt x="26" y="69"/>
                </a:cubicBezTo>
                <a:cubicBezTo>
                  <a:pt x="28" y="72"/>
                  <a:pt x="28" y="77"/>
                  <a:pt x="29" y="80"/>
                </a:cubicBezTo>
                <a:cubicBezTo>
                  <a:pt x="30" y="83"/>
                  <a:pt x="31" y="84"/>
                  <a:pt x="34" y="84"/>
                </a:cubicBezTo>
                <a:cubicBezTo>
                  <a:pt x="35" y="84"/>
                  <a:pt x="35" y="84"/>
                  <a:pt x="36" y="84"/>
                </a:cubicBezTo>
                <a:cubicBezTo>
                  <a:pt x="36" y="50"/>
                  <a:pt x="36" y="50"/>
                  <a:pt x="36" y="50"/>
                </a:cubicBezTo>
                <a:cubicBezTo>
                  <a:pt x="31" y="50"/>
                  <a:pt x="31" y="50"/>
                  <a:pt x="31" y="50"/>
                </a:cubicBezTo>
                <a:cubicBezTo>
                  <a:pt x="29" y="50"/>
                  <a:pt x="26" y="50"/>
                  <a:pt x="25" y="48"/>
                </a:cubicBezTo>
                <a:cubicBezTo>
                  <a:pt x="23" y="46"/>
                  <a:pt x="22" y="44"/>
                  <a:pt x="22" y="42"/>
                </a:cubicBezTo>
                <a:cubicBezTo>
                  <a:pt x="22" y="40"/>
                  <a:pt x="23" y="38"/>
                  <a:pt x="25" y="36"/>
                </a:cubicBezTo>
                <a:cubicBezTo>
                  <a:pt x="26" y="34"/>
                  <a:pt x="29" y="33"/>
                  <a:pt x="31" y="33"/>
                </a:cubicBezTo>
                <a:cubicBezTo>
                  <a:pt x="35" y="33"/>
                  <a:pt x="39" y="37"/>
                  <a:pt x="39" y="42"/>
                </a:cubicBezTo>
                <a:cubicBezTo>
                  <a:pt x="39" y="42"/>
                  <a:pt x="39" y="42"/>
                  <a:pt x="39" y="42"/>
                </a:cubicBezTo>
                <a:cubicBezTo>
                  <a:pt x="39" y="47"/>
                  <a:pt x="39" y="47"/>
                  <a:pt x="39" y="47"/>
                </a:cubicBezTo>
                <a:cubicBezTo>
                  <a:pt x="41" y="47"/>
                  <a:pt x="41" y="47"/>
                  <a:pt x="41" y="47"/>
                </a:cubicBezTo>
                <a:cubicBezTo>
                  <a:pt x="46" y="47"/>
                  <a:pt x="46" y="47"/>
                  <a:pt x="46" y="47"/>
                </a:cubicBezTo>
                <a:cubicBezTo>
                  <a:pt x="46" y="42"/>
                  <a:pt x="46" y="42"/>
                  <a:pt x="46" y="42"/>
                </a:cubicBezTo>
                <a:cubicBezTo>
                  <a:pt x="46" y="42"/>
                  <a:pt x="46" y="42"/>
                  <a:pt x="46" y="42"/>
                </a:cubicBezTo>
                <a:cubicBezTo>
                  <a:pt x="46" y="40"/>
                  <a:pt x="47" y="38"/>
                  <a:pt x="48" y="36"/>
                </a:cubicBezTo>
                <a:cubicBezTo>
                  <a:pt x="50" y="34"/>
                  <a:pt x="52" y="33"/>
                  <a:pt x="54" y="33"/>
                </a:cubicBezTo>
                <a:cubicBezTo>
                  <a:pt x="57" y="33"/>
                  <a:pt x="59" y="34"/>
                  <a:pt x="60" y="36"/>
                </a:cubicBezTo>
                <a:cubicBezTo>
                  <a:pt x="62" y="38"/>
                  <a:pt x="63" y="40"/>
                  <a:pt x="63" y="42"/>
                </a:cubicBezTo>
                <a:cubicBezTo>
                  <a:pt x="63" y="44"/>
                  <a:pt x="62" y="46"/>
                  <a:pt x="60" y="48"/>
                </a:cubicBezTo>
                <a:cubicBezTo>
                  <a:pt x="59" y="50"/>
                  <a:pt x="57" y="50"/>
                  <a:pt x="54" y="50"/>
                </a:cubicBezTo>
                <a:cubicBezTo>
                  <a:pt x="49" y="50"/>
                  <a:pt x="49" y="50"/>
                  <a:pt x="49" y="50"/>
                </a:cubicBezTo>
                <a:cubicBezTo>
                  <a:pt x="49" y="84"/>
                  <a:pt x="49" y="84"/>
                  <a:pt x="49" y="84"/>
                </a:cubicBezTo>
                <a:cubicBezTo>
                  <a:pt x="50" y="84"/>
                  <a:pt x="51" y="84"/>
                  <a:pt x="51" y="84"/>
                </a:cubicBezTo>
                <a:cubicBezTo>
                  <a:pt x="55" y="84"/>
                  <a:pt x="56" y="83"/>
                  <a:pt x="56" y="80"/>
                </a:cubicBezTo>
                <a:cubicBezTo>
                  <a:pt x="57" y="77"/>
                  <a:pt x="58" y="72"/>
                  <a:pt x="59" y="69"/>
                </a:cubicBezTo>
                <a:cubicBezTo>
                  <a:pt x="62" y="63"/>
                  <a:pt x="65" y="58"/>
                  <a:pt x="68" y="53"/>
                </a:cubicBezTo>
                <a:cubicBezTo>
                  <a:pt x="71" y="46"/>
                  <a:pt x="73" y="40"/>
                  <a:pt x="71" y="33"/>
                </a:cubicBezTo>
                <a:close/>
                <a:moveTo>
                  <a:pt x="46" y="3"/>
                </a:moveTo>
                <a:cubicBezTo>
                  <a:pt x="46" y="2"/>
                  <a:pt x="44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1" y="0"/>
                  <a:pt x="40" y="2"/>
                  <a:pt x="40" y="3"/>
                </a:cubicBezTo>
                <a:cubicBezTo>
                  <a:pt x="40" y="9"/>
                  <a:pt x="40" y="9"/>
                  <a:pt x="40" y="9"/>
                </a:cubicBezTo>
                <a:cubicBezTo>
                  <a:pt x="40" y="11"/>
                  <a:pt x="41" y="12"/>
                  <a:pt x="43" y="12"/>
                </a:cubicBezTo>
                <a:cubicBezTo>
                  <a:pt x="43" y="12"/>
                  <a:pt x="43" y="12"/>
                  <a:pt x="43" y="12"/>
                </a:cubicBezTo>
                <a:cubicBezTo>
                  <a:pt x="44" y="12"/>
                  <a:pt x="46" y="11"/>
                  <a:pt x="46" y="9"/>
                </a:cubicBezTo>
                <a:lnTo>
                  <a:pt x="46" y="3"/>
                </a:lnTo>
                <a:close/>
                <a:moveTo>
                  <a:pt x="63" y="8"/>
                </a:moveTo>
                <a:cubicBezTo>
                  <a:pt x="64" y="7"/>
                  <a:pt x="63" y="5"/>
                  <a:pt x="62" y="4"/>
                </a:cubicBezTo>
                <a:cubicBezTo>
                  <a:pt x="62" y="4"/>
                  <a:pt x="62" y="4"/>
                  <a:pt x="62" y="4"/>
                </a:cubicBezTo>
                <a:cubicBezTo>
                  <a:pt x="60" y="3"/>
                  <a:pt x="58" y="4"/>
                  <a:pt x="57" y="5"/>
                </a:cubicBezTo>
                <a:cubicBezTo>
                  <a:pt x="55" y="10"/>
                  <a:pt x="55" y="10"/>
                  <a:pt x="55" y="10"/>
                </a:cubicBezTo>
                <a:cubicBezTo>
                  <a:pt x="54" y="12"/>
                  <a:pt x="54" y="14"/>
                  <a:pt x="56" y="15"/>
                </a:cubicBezTo>
                <a:cubicBezTo>
                  <a:pt x="56" y="15"/>
                  <a:pt x="56" y="15"/>
                  <a:pt x="56" y="15"/>
                </a:cubicBezTo>
                <a:cubicBezTo>
                  <a:pt x="58" y="15"/>
                  <a:pt x="59" y="15"/>
                  <a:pt x="60" y="13"/>
                </a:cubicBezTo>
                <a:lnTo>
                  <a:pt x="63" y="8"/>
                </a:lnTo>
                <a:close/>
                <a:moveTo>
                  <a:pt x="76" y="18"/>
                </a:moveTo>
                <a:cubicBezTo>
                  <a:pt x="77" y="17"/>
                  <a:pt x="77" y="15"/>
                  <a:pt x="76" y="14"/>
                </a:cubicBezTo>
                <a:cubicBezTo>
                  <a:pt x="76" y="14"/>
                  <a:pt x="76" y="14"/>
                  <a:pt x="76" y="14"/>
                </a:cubicBezTo>
                <a:cubicBezTo>
                  <a:pt x="75" y="13"/>
                  <a:pt x="73" y="13"/>
                  <a:pt x="72" y="14"/>
                </a:cubicBezTo>
                <a:cubicBezTo>
                  <a:pt x="67" y="18"/>
                  <a:pt x="67" y="18"/>
                  <a:pt x="67" y="18"/>
                </a:cubicBezTo>
                <a:cubicBezTo>
                  <a:pt x="66" y="19"/>
                  <a:pt x="66" y="21"/>
                  <a:pt x="67" y="22"/>
                </a:cubicBezTo>
                <a:cubicBezTo>
                  <a:pt x="67" y="22"/>
                  <a:pt x="67" y="22"/>
                  <a:pt x="67" y="22"/>
                </a:cubicBezTo>
                <a:cubicBezTo>
                  <a:pt x="68" y="23"/>
                  <a:pt x="70" y="23"/>
                  <a:pt x="71" y="22"/>
                </a:cubicBezTo>
                <a:lnTo>
                  <a:pt x="76" y="18"/>
                </a:lnTo>
                <a:close/>
                <a:moveTo>
                  <a:pt x="82" y="34"/>
                </a:moveTo>
                <a:cubicBezTo>
                  <a:pt x="84" y="33"/>
                  <a:pt x="85" y="32"/>
                  <a:pt x="85" y="30"/>
                </a:cubicBezTo>
                <a:cubicBezTo>
                  <a:pt x="85" y="30"/>
                  <a:pt x="85" y="30"/>
                  <a:pt x="85" y="30"/>
                </a:cubicBezTo>
                <a:cubicBezTo>
                  <a:pt x="85" y="28"/>
                  <a:pt x="83" y="27"/>
                  <a:pt x="81" y="27"/>
                </a:cubicBezTo>
                <a:cubicBezTo>
                  <a:pt x="76" y="28"/>
                  <a:pt x="76" y="28"/>
                  <a:pt x="76" y="28"/>
                </a:cubicBezTo>
                <a:cubicBezTo>
                  <a:pt x="74" y="29"/>
                  <a:pt x="73" y="30"/>
                  <a:pt x="73" y="32"/>
                </a:cubicBezTo>
                <a:cubicBezTo>
                  <a:pt x="73" y="32"/>
                  <a:pt x="73" y="32"/>
                  <a:pt x="73" y="32"/>
                </a:cubicBezTo>
                <a:cubicBezTo>
                  <a:pt x="73" y="34"/>
                  <a:pt x="75" y="35"/>
                  <a:pt x="77" y="35"/>
                </a:cubicBezTo>
                <a:lnTo>
                  <a:pt x="82" y="34"/>
                </a:lnTo>
                <a:close/>
                <a:moveTo>
                  <a:pt x="81" y="50"/>
                </a:moveTo>
                <a:cubicBezTo>
                  <a:pt x="83" y="51"/>
                  <a:pt x="84" y="49"/>
                  <a:pt x="85" y="48"/>
                </a:cubicBezTo>
                <a:cubicBezTo>
                  <a:pt x="85" y="48"/>
                  <a:pt x="85" y="48"/>
                  <a:pt x="85" y="48"/>
                </a:cubicBezTo>
                <a:cubicBezTo>
                  <a:pt x="85" y="46"/>
                  <a:pt x="84" y="44"/>
                  <a:pt x="82" y="44"/>
                </a:cubicBezTo>
                <a:cubicBezTo>
                  <a:pt x="77" y="43"/>
                  <a:pt x="77" y="43"/>
                  <a:pt x="77" y="43"/>
                </a:cubicBezTo>
                <a:cubicBezTo>
                  <a:pt x="75" y="43"/>
                  <a:pt x="73" y="44"/>
                  <a:pt x="73" y="45"/>
                </a:cubicBezTo>
                <a:cubicBezTo>
                  <a:pt x="73" y="45"/>
                  <a:pt x="73" y="45"/>
                  <a:pt x="73" y="45"/>
                </a:cubicBezTo>
                <a:cubicBezTo>
                  <a:pt x="73" y="47"/>
                  <a:pt x="74" y="49"/>
                  <a:pt x="75" y="49"/>
                </a:cubicBezTo>
                <a:lnTo>
                  <a:pt x="81" y="50"/>
                </a:lnTo>
                <a:close/>
                <a:moveTo>
                  <a:pt x="25" y="13"/>
                </a:moveTo>
                <a:cubicBezTo>
                  <a:pt x="25" y="15"/>
                  <a:pt x="27" y="15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30" y="14"/>
                  <a:pt x="31" y="12"/>
                  <a:pt x="30" y="10"/>
                </a:cubicBezTo>
                <a:cubicBezTo>
                  <a:pt x="27" y="5"/>
                  <a:pt x="27" y="5"/>
                  <a:pt x="27" y="5"/>
                </a:cubicBezTo>
                <a:cubicBezTo>
                  <a:pt x="27" y="4"/>
                  <a:pt x="25" y="3"/>
                  <a:pt x="23" y="4"/>
                </a:cubicBezTo>
                <a:cubicBezTo>
                  <a:pt x="23" y="4"/>
                  <a:pt x="23" y="4"/>
                  <a:pt x="23" y="4"/>
                </a:cubicBezTo>
                <a:cubicBezTo>
                  <a:pt x="22" y="5"/>
                  <a:pt x="21" y="7"/>
                  <a:pt x="22" y="8"/>
                </a:cubicBezTo>
                <a:lnTo>
                  <a:pt x="25" y="13"/>
                </a:lnTo>
                <a:close/>
                <a:moveTo>
                  <a:pt x="13" y="22"/>
                </a:moveTo>
                <a:cubicBezTo>
                  <a:pt x="15" y="23"/>
                  <a:pt x="17" y="23"/>
                  <a:pt x="18" y="22"/>
                </a:cubicBezTo>
                <a:cubicBezTo>
                  <a:pt x="18" y="22"/>
                  <a:pt x="18" y="22"/>
                  <a:pt x="18" y="22"/>
                </a:cubicBezTo>
                <a:cubicBezTo>
                  <a:pt x="19" y="21"/>
                  <a:pt x="19" y="19"/>
                  <a:pt x="18" y="18"/>
                </a:cubicBezTo>
                <a:cubicBezTo>
                  <a:pt x="13" y="14"/>
                  <a:pt x="13" y="14"/>
                  <a:pt x="13" y="14"/>
                </a:cubicBezTo>
                <a:cubicBezTo>
                  <a:pt x="12" y="13"/>
                  <a:pt x="10" y="13"/>
                  <a:pt x="9" y="14"/>
                </a:cubicBezTo>
                <a:cubicBezTo>
                  <a:pt x="9" y="14"/>
                  <a:pt x="9" y="14"/>
                  <a:pt x="9" y="14"/>
                </a:cubicBezTo>
                <a:cubicBezTo>
                  <a:pt x="8" y="15"/>
                  <a:pt x="8" y="17"/>
                  <a:pt x="9" y="18"/>
                </a:cubicBezTo>
                <a:lnTo>
                  <a:pt x="13" y="22"/>
                </a:lnTo>
                <a:close/>
                <a:moveTo>
                  <a:pt x="8" y="35"/>
                </a:moveTo>
                <a:cubicBezTo>
                  <a:pt x="10" y="35"/>
                  <a:pt x="11" y="34"/>
                  <a:pt x="12" y="32"/>
                </a:cubicBezTo>
                <a:cubicBezTo>
                  <a:pt x="12" y="32"/>
                  <a:pt x="12" y="32"/>
                  <a:pt x="12" y="32"/>
                </a:cubicBezTo>
                <a:cubicBezTo>
                  <a:pt x="12" y="30"/>
                  <a:pt x="11" y="29"/>
                  <a:pt x="9" y="28"/>
                </a:cubicBezTo>
                <a:cubicBezTo>
                  <a:pt x="4" y="27"/>
                  <a:pt x="4" y="27"/>
                  <a:pt x="4" y="27"/>
                </a:cubicBezTo>
                <a:cubicBezTo>
                  <a:pt x="2" y="27"/>
                  <a:pt x="0" y="28"/>
                  <a:pt x="0" y="3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2"/>
                  <a:pt x="1" y="33"/>
                  <a:pt x="2" y="34"/>
                </a:cubicBezTo>
                <a:lnTo>
                  <a:pt x="8" y="35"/>
                </a:lnTo>
                <a:close/>
                <a:moveTo>
                  <a:pt x="9" y="49"/>
                </a:moveTo>
                <a:cubicBezTo>
                  <a:pt x="11" y="49"/>
                  <a:pt x="12" y="47"/>
                  <a:pt x="12" y="45"/>
                </a:cubicBezTo>
                <a:cubicBezTo>
                  <a:pt x="12" y="45"/>
                  <a:pt x="12" y="45"/>
                  <a:pt x="12" y="45"/>
                </a:cubicBezTo>
                <a:cubicBezTo>
                  <a:pt x="12" y="44"/>
                  <a:pt x="10" y="43"/>
                  <a:pt x="8" y="43"/>
                </a:cubicBezTo>
                <a:cubicBezTo>
                  <a:pt x="3" y="44"/>
                  <a:pt x="3" y="44"/>
                  <a:pt x="3" y="44"/>
                </a:cubicBezTo>
                <a:cubicBezTo>
                  <a:pt x="1" y="44"/>
                  <a:pt x="0" y="46"/>
                  <a:pt x="0" y="48"/>
                </a:cubicBezTo>
                <a:cubicBezTo>
                  <a:pt x="0" y="48"/>
                  <a:pt x="0" y="48"/>
                  <a:pt x="0" y="48"/>
                </a:cubicBezTo>
                <a:cubicBezTo>
                  <a:pt x="1" y="49"/>
                  <a:pt x="2" y="51"/>
                  <a:pt x="4" y="50"/>
                </a:cubicBezTo>
                <a:lnTo>
                  <a:pt x="9" y="4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39" name="Freeform 41"/>
          <p:cNvSpPr>
            <a:spLocks noEditPoints="1"/>
          </p:cNvSpPr>
          <p:nvPr/>
        </p:nvSpPr>
        <p:spPr bwMode="auto">
          <a:xfrm>
            <a:off x="7014509" y="1642989"/>
            <a:ext cx="347663" cy="182604"/>
          </a:xfrm>
          <a:custGeom>
            <a:avLst/>
            <a:gdLst>
              <a:gd name="T0" fmla="*/ 63007 w 103"/>
              <a:gd name="T1" fmla="*/ 320000 h 87"/>
              <a:gd name="T2" fmla="*/ 63007 w 103"/>
              <a:gd name="T3" fmla="*/ 211831 h 87"/>
              <a:gd name="T4" fmla="*/ 76508 w 103"/>
              <a:gd name="T5" fmla="*/ 198310 h 87"/>
              <a:gd name="T6" fmla="*/ 103511 w 103"/>
              <a:gd name="T7" fmla="*/ 198310 h 87"/>
              <a:gd name="T8" fmla="*/ 117013 w 103"/>
              <a:gd name="T9" fmla="*/ 211831 h 87"/>
              <a:gd name="T10" fmla="*/ 117013 w 103"/>
              <a:gd name="T11" fmla="*/ 320000 h 87"/>
              <a:gd name="T12" fmla="*/ 103511 w 103"/>
              <a:gd name="T13" fmla="*/ 333521 h 87"/>
              <a:gd name="T14" fmla="*/ 76508 w 103"/>
              <a:gd name="T15" fmla="*/ 333521 h 87"/>
              <a:gd name="T16" fmla="*/ 63007 w 103"/>
              <a:gd name="T17" fmla="*/ 320000 h 87"/>
              <a:gd name="T18" fmla="*/ 171018 w 103"/>
              <a:gd name="T19" fmla="*/ 162254 h 87"/>
              <a:gd name="T20" fmla="*/ 153017 w 103"/>
              <a:gd name="T21" fmla="*/ 175775 h 87"/>
              <a:gd name="T22" fmla="*/ 153017 w 103"/>
              <a:gd name="T23" fmla="*/ 320000 h 87"/>
              <a:gd name="T24" fmla="*/ 171018 w 103"/>
              <a:gd name="T25" fmla="*/ 333521 h 87"/>
              <a:gd name="T26" fmla="*/ 193521 w 103"/>
              <a:gd name="T27" fmla="*/ 333521 h 87"/>
              <a:gd name="T28" fmla="*/ 211523 w 103"/>
              <a:gd name="T29" fmla="*/ 320000 h 87"/>
              <a:gd name="T30" fmla="*/ 211523 w 103"/>
              <a:gd name="T31" fmla="*/ 175775 h 87"/>
              <a:gd name="T32" fmla="*/ 193521 w 103"/>
              <a:gd name="T33" fmla="*/ 162254 h 87"/>
              <a:gd name="T34" fmla="*/ 171018 w 103"/>
              <a:gd name="T35" fmla="*/ 162254 h 87"/>
              <a:gd name="T36" fmla="*/ 261028 w 103"/>
              <a:gd name="T37" fmla="*/ 130704 h 87"/>
              <a:gd name="T38" fmla="*/ 247527 w 103"/>
              <a:gd name="T39" fmla="*/ 144225 h 87"/>
              <a:gd name="T40" fmla="*/ 247527 w 103"/>
              <a:gd name="T41" fmla="*/ 320000 h 87"/>
              <a:gd name="T42" fmla="*/ 261028 w 103"/>
              <a:gd name="T43" fmla="*/ 333521 h 87"/>
              <a:gd name="T44" fmla="*/ 288031 w 103"/>
              <a:gd name="T45" fmla="*/ 333521 h 87"/>
              <a:gd name="T46" fmla="*/ 301533 w 103"/>
              <a:gd name="T47" fmla="*/ 320000 h 87"/>
              <a:gd name="T48" fmla="*/ 301533 w 103"/>
              <a:gd name="T49" fmla="*/ 144225 h 87"/>
              <a:gd name="T50" fmla="*/ 288031 w 103"/>
              <a:gd name="T51" fmla="*/ 130704 h 87"/>
              <a:gd name="T52" fmla="*/ 261028 w 103"/>
              <a:gd name="T53" fmla="*/ 130704 h 87"/>
              <a:gd name="T54" fmla="*/ 355538 w 103"/>
              <a:gd name="T55" fmla="*/ 94648 h 87"/>
              <a:gd name="T56" fmla="*/ 342037 w 103"/>
              <a:gd name="T57" fmla="*/ 112676 h 87"/>
              <a:gd name="T58" fmla="*/ 342037 w 103"/>
              <a:gd name="T59" fmla="*/ 320000 h 87"/>
              <a:gd name="T60" fmla="*/ 355538 w 103"/>
              <a:gd name="T61" fmla="*/ 333521 h 87"/>
              <a:gd name="T62" fmla="*/ 382541 w 103"/>
              <a:gd name="T63" fmla="*/ 333521 h 87"/>
              <a:gd name="T64" fmla="*/ 396043 w 103"/>
              <a:gd name="T65" fmla="*/ 320000 h 87"/>
              <a:gd name="T66" fmla="*/ 396043 w 103"/>
              <a:gd name="T67" fmla="*/ 112676 h 87"/>
              <a:gd name="T68" fmla="*/ 382541 w 103"/>
              <a:gd name="T69" fmla="*/ 94648 h 87"/>
              <a:gd name="T70" fmla="*/ 355538 w 103"/>
              <a:gd name="T71" fmla="*/ 94648 h 87"/>
              <a:gd name="T72" fmla="*/ 67507 w 103"/>
              <a:gd name="T73" fmla="*/ 157747 h 87"/>
              <a:gd name="T74" fmla="*/ 346537 w 103"/>
              <a:gd name="T75" fmla="*/ 54085 h 87"/>
              <a:gd name="T76" fmla="*/ 351038 w 103"/>
              <a:gd name="T77" fmla="*/ 67606 h 87"/>
              <a:gd name="T78" fmla="*/ 382541 w 103"/>
              <a:gd name="T79" fmla="*/ 22535 h 87"/>
              <a:gd name="T80" fmla="*/ 328535 w 103"/>
              <a:gd name="T81" fmla="*/ 18028 h 87"/>
              <a:gd name="T82" fmla="*/ 333036 w 103"/>
              <a:gd name="T83" fmla="*/ 36056 h 87"/>
              <a:gd name="T84" fmla="*/ 67507 w 103"/>
              <a:gd name="T85" fmla="*/ 135211 h 87"/>
              <a:gd name="T86" fmla="*/ 67507 w 103"/>
              <a:gd name="T87" fmla="*/ 157747 h 87"/>
              <a:gd name="T88" fmla="*/ 463550 w 103"/>
              <a:gd name="T89" fmla="*/ 365071 h 87"/>
              <a:gd name="T90" fmla="*/ 418545 w 103"/>
              <a:gd name="T91" fmla="*/ 338028 h 87"/>
              <a:gd name="T92" fmla="*/ 418545 w 103"/>
              <a:gd name="T93" fmla="*/ 351550 h 87"/>
              <a:gd name="T94" fmla="*/ 36004 w 103"/>
              <a:gd name="T95" fmla="*/ 351550 h 87"/>
              <a:gd name="T96" fmla="*/ 36004 w 103"/>
              <a:gd name="T97" fmla="*/ 49578 h 87"/>
              <a:gd name="T98" fmla="*/ 54006 w 103"/>
              <a:gd name="T99" fmla="*/ 49578 h 87"/>
              <a:gd name="T100" fmla="*/ 27003 w 103"/>
              <a:gd name="T101" fmla="*/ 0 h 87"/>
              <a:gd name="T102" fmla="*/ 0 w 103"/>
              <a:gd name="T103" fmla="*/ 49578 h 87"/>
              <a:gd name="T104" fmla="*/ 18002 w 103"/>
              <a:gd name="T105" fmla="*/ 49578 h 87"/>
              <a:gd name="T106" fmla="*/ 18002 w 103"/>
              <a:gd name="T107" fmla="*/ 351550 h 87"/>
              <a:gd name="T108" fmla="*/ 18002 w 103"/>
              <a:gd name="T109" fmla="*/ 365071 h 87"/>
              <a:gd name="T110" fmla="*/ 18002 w 103"/>
              <a:gd name="T111" fmla="*/ 374085 h 87"/>
              <a:gd name="T112" fmla="*/ 418545 w 103"/>
              <a:gd name="T113" fmla="*/ 374085 h 87"/>
              <a:gd name="T114" fmla="*/ 418545 w 103"/>
              <a:gd name="T115" fmla="*/ 392113 h 87"/>
              <a:gd name="T116" fmla="*/ 463550 w 103"/>
              <a:gd name="T117" fmla="*/ 365071 h 8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03" h="87">
                <a:moveTo>
                  <a:pt x="14" y="71"/>
                </a:moveTo>
                <a:cubicBezTo>
                  <a:pt x="14" y="47"/>
                  <a:pt x="14" y="47"/>
                  <a:pt x="14" y="47"/>
                </a:cubicBezTo>
                <a:cubicBezTo>
                  <a:pt x="14" y="46"/>
                  <a:pt x="15" y="44"/>
                  <a:pt x="17" y="44"/>
                </a:cubicBezTo>
                <a:cubicBezTo>
                  <a:pt x="23" y="44"/>
                  <a:pt x="23" y="44"/>
                  <a:pt x="23" y="44"/>
                </a:cubicBezTo>
                <a:cubicBezTo>
                  <a:pt x="25" y="44"/>
                  <a:pt x="26" y="46"/>
                  <a:pt x="26" y="47"/>
                </a:cubicBezTo>
                <a:cubicBezTo>
                  <a:pt x="26" y="71"/>
                  <a:pt x="26" y="71"/>
                  <a:pt x="26" y="71"/>
                </a:cubicBezTo>
                <a:cubicBezTo>
                  <a:pt x="26" y="73"/>
                  <a:pt x="25" y="74"/>
                  <a:pt x="23" y="74"/>
                </a:cubicBezTo>
                <a:cubicBezTo>
                  <a:pt x="17" y="74"/>
                  <a:pt x="17" y="74"/>
                  <a:pt x="17" y="74"/>
                </a:cubicBezTo>
                <a:cubicBezTo>
                  <a:pt x="15" y="74"/>
                  <a:pt x="14" y="73"/>
                  <a:pt x="14" y="71"/>
                </a:cubicBezTo>
                <a:close/>
                <a:moveTo>
                  <a:pt x="38" y="36"/>
                </a:moveTo>
                <a:cubicBezTo>
                  <a:pt x="36" y="36"/>
                  <a:pt x="34" y="37"/>
                  <a:pt x="34" y="39"/>
                </a:cubicBezTo>
                <a:cubicBezTo>
                  <a:pt x="34" y="71"/>
                  <a:pt x="34" y="71"/>
                  <a:pt x="34" y="71"/>
                </a:cubicBezTo>
                <a:cubicBezTo>
                  <a:pt x="34" y="73"/>
                  <a:pt x="36" y="74"/>
                  <a:pt x="38" y="74"/>
                </a:cubicBezTo>
                <a:cubicBezTo>
                  <a:pt x="43" y="74"/>
                  <a:pt x="43" y="74"/>
                  <a:pt x="43" y="74"/>
                </a:cubicBezTo>
                <a:cubicBezTo>
                  <a:pt x="45" y="74"/>
                  <a:pt x="47" y="73"/>
                  <a:pt x="47" y="71"/>
                </a:cubicBezTo>
                <a:cubicBezTo>
                  <a:pt x="47" y="39"/>
                  <a:pt x="47" y="39"/>
                  <a:pt x="47" y="39"/>
                </a:cubicBezTo>
                <a:cubicBezTo>
                  <a:pt x="47" y="37"/>
                  <a:pt x="45" y="36"/>
                  <a:pt x="43" y="36"/>
                </a:cubicBezTo>
                <a:lnTo>
                  <a:pt x="38" y="36"/>
                </a:lnTo>
                <a:close/>
                <a:moveTo>
                  <a:pt x="58" y="29"/>
                </a:moveTo>
                <a:cubicBezTo>
                  <a:pt x="56" y="29"/>
                  <a:pt x="55" y="30"/>
                  <a:pt x="55" y="32"/>
                </a:cubicBezTo>
                <a:cubicBezTo>
                  <a:pt x="55" y="71"/>
                  <a:pt x="55" y="71"/>
                  <a:pt x="55" y="71"/>
                </a:cubicBezTo>
                <a:cubicBezTo>
                  <a:pt x="55" y="73"/>
                  <a:pt x="56" y="74"/>
                  <a:pt x="58" y="74"/>
                </a:cubicBezTo>
                <a:cubicBezTo>
                  <a:pt x="64" y="74"/>
                  <a:pt x="64" y="74"/>
                  <a:pt x="64" y="74"/>
                </a:cubicBezTo>
                <a:cubicBezTo>
                  <a:pt x="66" y="74"/>
                  <a:pt x="67" y="73"/>
                  <a:pt x="67" y="71"/>
                </a:cubicBezTo>
                <a:cubicBezTo>
                  <a:pt x="67" y="32"/>
                  <a:pt x="67" y="32"/>
                  <a:pt x="67" y="32"/>
                </a:cubicBezTo>
                <a:cubicBezTo>
                  <a:pt x="67" y="30"/>
                  <a:pt x="66" y="29"/>
                  <a:pt x="64" y="29"/>
                </a:cubicBezTo>
                <a:lnTo>
                  <a:pt x="58" y="29"/>
                </a:lnTo>
                <a:close/>
                <a:moveTo>
                  <a:pt x="79" y="21"/>
                </a:moveTo>
                <a:cubicBezTo>
                  <a:pt x="77" y="21"/>
                  <a:pt x="76" y="23"/>
                  <a:pt x="76" y="25"/>
                </a:cubicBezTo>
                <a:cubicBezTo>
                  <a:pt x="76" y="71"/>
                  <a:pt x="76" y="71"/>
                  <a:pt x="76" y="71"/>
                </a:cubicBezTo>
                <a:cubicBezTo>
                  <a:pt x="76" y="73"/>
                  <a:pt x="77" y="74"/>
                  <a:pt x="79" y="74"/>
                </a:cubicBezTo>
                <a:cubicBezTo>
                  <a:pt x="85" y="74"/>
                  <a:pt x="85" y="74"/>
                  <a:pt x="85" y="74"/>
                </a:cubicBezTo>
                <a:cubicBezTo>
                  <a:pt x="87" y="74"/>
                  <a:pt x="88" y="73"/>
                  <a:pt x="88" y="71"/>
                </a:cubicBezTo>
                <a:cubicBezTo>
                  <a:pt x="88" y="25"/>
                  <a:pt x="88" y="25"/>
                  <a:pt x="88" y="25"/>
                </a:cubicBezTo>
                <a:cubicBezTo>
                  <a:pt x="88" y="23"/>
                  <a:pt x="87" y="21"/>
                  <a:pt x="85" y="21"/>
                </a:cubicBezTo>
                <a:lnTo>
                  <a:pt x="79" y="21"/>
                </a:lnTo>
                <a:close/>
                <a:moveTo>
                  <a:pt x="15" y="35"/>
                </a:moveTo>
                <a:cubicBezTo>
                  <a:pt x="37" y="31"/>
                  <a:pt x="58" y="23"/>
                  <a:pt x="77" y="12"/>
                </a:cubicBezTo>
                <a:cubicBezTo>
                  <a:pt x="78" y="15"/>
                  <a:pt x="78" y="15"/>
                  <a:pt x="78" y="15"/>
                </a:cubicBezTo>
                <a:cubicBezTo>
                  <a:pt x="85" y="5"/>
                  <a:pt x="85" y="5"/>
                  <a:pt x="85" y="5"/>
                </a:cubicBezTo>
                <a:cubicBezTo>
                  <a:pt x="73" y="4"/>
                  <a:pt x="73" y="4"/>
                  <a:pt x="73" y="4"/>
                </a:cubicBezTo>
                <a:cubicBezTo>
                  <a:pt x="74" y="8"/>
                  <a:pt x="74" y="8"/>
                  <a:pt x="74" y="8"/>
                </a:cubicBezTo>
                <a:cubicBezTo>
                  <a:pt x="56" y="19"/>
                  <a:pt x="36" y="26"/>
                  <a:pt x="15" y="30"/>
                </a:cubicBezTo>
                <a:lnTo>
                  <a:pt x="15" y="35"/>
                </a:lnTo>
                <a:close/>
                <a:moveTo>
                  <a:pt x="103" y="81"/>
                </a:moveTo>
                <a:cubicBezTo>
                  <a:pt x="93" y="75"/>
                  <a:pt x="93" y="75"/>
                  <a:pt x="93" y="75"/>
                </a:cubicBezTo>
                <a:cubicBezTo>
                  <a:pt x="93" y="78"/>
                  <a:pt x="93" y="78"/>
                  <a:pt x="93" y="78"/>
                </a:cubicBezTo>
                <a:cubicBezTo>
                  <a:pt x="8" y="78"/>
                  <a:pt x="8" y="78"/>
                  <a:pt x="8" y="78"/>
                </a:cubicBezTo>
                <a:cubicBezTo>
                  <a:pt x="8" y="11"/>
                  <a:pt x="8" y="11"/>
                  <a:pt x="8" y="11"/>
                </a:cubicBezTo>
                <a:cubicBezTo>
                  <a:pt x="12" y="11"/>
                  <a:pt x="12" y="11"/>
                  <a:pt x="12" y="11"/>
                </a:cubicBezTo>
                <a:cubicBezTo>
                  <a:pt x="6" y="0"/>
                  <a:pt x="6" y="0"/>
                  <a:pt x="6" y="0"/>
                </a:cubicBezTo>
                <a:cubicBezTo>
                  <a:pt x="0" y="11"/>
                  <a:pt x="0" y="11"/>
                  <a:pt x="0" y="11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78"/>
                  <a:pt x="4" y="78"/>
                  <a:pt x="4" y="78"/>
                </a:cubicBezTo>
                <a:cubicBezTo>
                  <a:pt x="4" y="81"/>
                  <a:pt x="4" y="81"/>
                  <a:pt x="4" y="81"/>
                </a:cubicBezTo>
                <a:cubicBezTo>
                  <a:pt x="4" y="83"/>
                  <a:pt x="4" y="83"/>
                  <a:pt x="4" y="83"/>
                </a:cubicBezTo>
                <a:cubicBezTo>
                  <a:pt x="93" y="83"/>
                  <a:pt x="93" y="83"/>
                  <a:pt x="93" y="83"/>
                </a:cubicBezTo>
                <a:cubicBezTo>
                  <a:pt x="93" y="87"/>
                  <a:pt x="93" y="87"/>
                  <a:pt x="93" y="87"/>
                </a:cubicBezTo>
                <a:lnTo>
                  <a:pt x="103" y="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40" name="Freeform 42"/>
          <p:cNvSpPr>
            <a:spLocks noEditPoints="1"/>
          </p:cNvSpPr>
          <p:nvPr/>
        </p:nvSpPr>
        <p:spPr bwMode="auto">
          <a:xfrm>
            <a:off x="5959274" y="3989020"/>
            <a:ext cx="476250" cy="170775"/>
          </a:xfrm>
          <a:custGeom>
            <a:avLst/>
            <a:gdLst>
              <a:gd name="T0" fmla="*/ 454858 w 141"/>
              <a:gd name="T1" fmla="*/ 310850 h 74"/>
              <a:gd name="T2" fmla="*/ 427837 w 141"/>
              <a:gd name="T3" fmla="*/ 319860 h 74"/>
              <a:gd name="T4" fmla="*/ 324255 w 141"/>
              <a:gd name="T5" fmla="*/ 333375 h 74"/>
              <a:gd name="T6" fmla="*/ 220674 w 141"/>
              <a:gd name="T7" fmla="*/ 319860 h 74"/>
              <a:gd name="T8" fmla="*/ 189149 w 141"/>
              <a:gd name="T9" fmla="*/ 310850 h 74"/>
              <a:gd name="T10" fmla="*/ 180142 w 141"/>
              <a:gd name="T11" fmla="*/ 261294 h 74"/>
              <a:gd name="T12" fmla="*/ 238688 w 141"/>
              <a:gd name="T13" fmla="*/ 220748 h 74"/>
              <a:gd name="T14" fmla="*/ 265709 w 141"/>
              <a:gd name="T15" fmla="*/ 211738 h 74"/>
              <a:gd name="T16" fmla="*/ 274716 w 141"/>
              <a:gd name="T17" fmla="*/ 171193 h 74"/>
              <a:gd name="T18" fmla="*/ 238688 w 141"/>
              <a:gd name="T19" fmla="*/ 72081 h 74"/>
              <a:gd name="T20" fmla="*/ 301738 w 141"/>
              <a:gd name="T21" fmla="*/ 4505 h 74"/>
              <a:gd name="T22" fmla="*/ 324255 w 141"/>
              <a:gd name="T23" fmla="*/ 0 h 74"/>
              <a:gd name="T24" fmla="*/ 346773 w 141"/>
              <a:gd name="T25" fmla="*/ 4505 h 74"/>
              <a:gd name="T26" fmla="*/ 405319 w 141"/>
              <a:gd name="T27" fmla="*/ 72081 h 74"/>
              <a:gd name="T28" fmla="*/ 369291 w 141"/>
              <a:gd name="T29" fmla="*/ 171193 h 74"/>
              <a:gd name="T30" fmla="*/ 382801 w 141"/>
              <a:gd name="T31" fmla="*/ 211738 h 74"/>
              <a:gd name="T32" fmla="*/ 409823 w 141"/>
              <a:gd name="T33" fmla="*/ 220748 h 74"/>
              <a:gd name="T34" fmla="*/ 468369 w 141"/>
              <a:gd name="T35" fmla="*/ 261294 h 74"/>
              <a:gd name="T36" fmla="*/ 454858 w 141"/>
              <a:gd name="T37" fmla="*/ 310850 h 74"/>
              <a:gd name="T38" fmla="*/ 621489 w 141"/>
              <a:gd name="T39" fmla="*/ 283819 h 74"/>
              <a:gd name="T40" fmla="*/ 580957 w 141"/>
              <a:gd name="T41" fmla="*/ 256789 h 74"/>
              <a:gd name="T42" fmla="*/ 562943 w 141"/>
              <a:gd name="T43" fmla="*/ 247779 h 74"/>
              <a:gd name="T44" fmla="*/ 553936 w 141"/>
              <a:gd name="T45" fmla="*/ 220748 h 74"/>
              <a:gd name="T46" fmla="*/ 580957 w 141"/>
              <a:gd name="T47" fmla="*/ 153172 h 74"/>
              <a:gd name="T48" fmla="*/ 540426 w 141"/>
              <a:gd name="T49" fmla="*/ 103617 h 74"/>
              <a:gd name="T50" fmla="*/ 522411 w 141"/>
              <a:gd name="T51" fmla="*/ 99111 h 74"/>
              <a:gd name="T52" fmla="*/ 504397 w 141"/>
              <a:gd name="T53" fmla="*/ 103617 h 74"/>
              <a:gd name="T54" fmla="*/ 463865 w 141"/>
              <a:gd name="T55" fmla="*/ 153172 h 74"/>
              <a:gd name="T56" fmla="*/ 490887 w 141"/>
              <a:gd name="T57" fmla="*/ 220748 h 74"/>
              <a:gd name="T58" fmla="*/ 481879 w 141"/>
              <a:gd name="T59" fmla="*/ 247779 h 74"/>
              <a:gd name="T60" fmla="*/ 481879 w 141"/>
              <a:gd name="T61" fmla="*/ 247779 h 74"/>
              <a:gd name="T62" fmla="*/ 486383 w 141"/>
              <a:gd name="T63" fmla="*/ 252284 h 74"/>
              <a:gd name="T64" fmla="*/ 499894 w 141"/>
              <a:gd name="T65" fmla="*/ 288324 h 74"/>
              <a:gd name="T66" fmla="*/ 472872 w 141"/>
              <a:gd name="T67" fmla="*/ 324365 h 74"/>
              <a:gd name="T68" fmla="*/ 459362 w 141"/>
              <a:gd name="T69" fmla="*/ 328870 h 74"/>
              <a:gd name="T70" fmla="*/ 522411 w 141"/>
              <a:gd name="T71" fmla="*/ 333375 h 74"/>
              <a:gd name="T72" fmla="*/ 594468 w 141"/>
              <a:gd name="T73" fmla="*/ 324365 h 74"/>
              <a:gd name="T74" fmla="*/ 616986 w 141"/>
              <a:gd name="T75" fmla="*/ 319860 h 74"/>
              <a:gd name="T76" fmla="*/ 621489 w 141"/>
              <a:gd name="T77" fmla="*/ 283819 h 74"/>
              <a:gd name="T78" fmla="*/ 148617 w 141"/>
              <a:gd name="T79" fmla="*/ 288324 h 74"/>
              <a:gd name="T80" fmla="*/ 162128 w 141"/>
              <a:gd name="T81" fmla="*/ 252284 h 74"/>
              <a:gd name="T82" fmla="*/ 175638 w 141"/>
              <a:gd name="T83" fmla="*/ 243274 h 74"/>
              <a:gd name="T84" fmla="*/ 166631 w 141"/>
              <a:gd name="T85" fmla="*/ 238769 h 74"/>
              <a:gd name="T86" fmla="*/ 157624 w 141"/>
              <a:gd name="T87" fmla="*/ 207233 h 74"/>
              <a:gd name="T88" fmla="*/ 184645 w 141"/>
              <a:gd name="T89" fmla="*/ 130647 h 74"/>
              <a:gd name="T90" fmla="*/ 139610 w 141"/>
              <a:gd name="T91" fmla="*/ 76586 h 74"/>
              <a:gd name="T92" fmla="*/ 121596 w 141"/>
              <a:gd name="T93" fmla="*/ 76586 h 74"/>
              <a:gd name="T94" fmla="*/ 103582 w 141"/>
              <a:gd name="T95" fmla="*/ 76586 h 74"/>
              <a:gd name="T96" fmla="*/ 58546 w 141"/>
              <a:gd name="T97" fmla="*/ 130647 h 74"/>
              <a:gd name="T98" fmla="*/ 85567 w 141"/>
              <a:gd name="T99" fmla="*/ 207233 h 74"/>
              <a:gd name="T100" fmla="*/ 76560 w 141"/>
              <a:gd name="T101" fmla="*/ 238769 h 74"/>
              <a:gd name="T102" fmla="*/ 54043 w 141"/>
              <a:gd name="T103" fmla="*/ 247779 h 74"/>
              <a:gd name="T104" fmla="*/ 9007 w 141"/>
              <a:gd name="T105" fmla="*/ 279314 h 74"/>
              <a:gd name="T106" fmla="*/ 18014 w 141"/>
              <a:gd name="T107" fmla="*/ 315355 h 74"/>
              <a:gd name="T108" fmla="*/ 40532 w 141"/>
              <a:gd name="T109" fmla="*/ 324365 h 74"/>
              <a:gd name="T110" fmla="*/ 121596 w 141"/>
              <a:gd name="T111" fmla="*/ 333375 h 74"/>
              <a:gd name="T112" fmla="*/ 189149 w 141"/>
              <a:gd name="T113" fmla="*/ 328870 h 74"/>
              <a:gd name="T114" fmla="*/ 175638 w 141"/>
              <a:gd name="T115" fmla="*/ 324365 h 74"/>
              <a:gd name="T116" fmla="*/ 148617 w 141"/>
              <a:gd name="T117" fmla="*/ 288324 h 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1" h="74">
                <a:moveTo>
                  <a:pt x="101" y="69"/>
                </a:moveTo>
                <a:cubicBezTo>
                  <a:pt x="99" y="70"/>
                  <a:pt x="97" y="71"/>
                  <a:pt x="95" y="71"/>
                </a:cubicBezTo>
                <a:cubicBezTo>
                  <a:pt x="88" y="73"/>
                  <a:pt x="81" y="73"/>
                  <a:pt x="72" y="74"/>
                </a:cubicBezTo>
                <a:cubicBezTo>
                  <a:pt x="63" y="73"/>
                  <a:pt x="56" y="73"/>
                  <a:pt x="49" y="71"/>
                </a:cubicBezTo>
                <a:cubicBezTo>
                  <a:pt x="46" y="71"/>
                  <a:pt x="44" y="70"/>
                  <a:pt x="42" y="69"/>
                </a:cubicBezTo>
                <a:cubicBezTo>
                  <a:pt x="36" y="66"/>
                  <a:pt x="36" y="61"/>
                  <a:pt x="40" y="58"/>
                </a:cubicBezTo>
                <a:cubicBezTo>
                  <a:pt x="43" y="54"/>
                  <a:pt x="48" y="52"/>
                  <a:pt x="53" y="49"/>
                </a:cubicBezTo>
                <a:cubicBezTo>
                  <a:pt x="55" y="48"/>
                  <a:pt x="57" y="48"/>
                  <a:pt x="59" y="47"/>
                </a:cubicBezTo>
                <a:cubicBezTo>
                  <a:pt x="63" y="45"/>
                  <a:pt x="64" y="41"/>
                  <a:pt x="61" y="38"/>
                </a:cubicBezTo>
                <a:cubicBezTo>
                  <a:pt x="55" y="32"/>
                  <a:pt x="53" y="24"/>
                  <a:pt x="53" y="16"/>
                </a:cubicBezTo>
                <a:cubicBezTo>
                  <a:pt x="54" y="7"/>
                  <a:pt x="59" y="3"/>
                  <a:pt x="67" y="1"/>
                </a:cubicBezTo>
                <a:cubicBezTo>
                  <a:pt x="69" y="0"/>
                  <a:pt x="70" y="0"/>
                  <a:pt x="72" y="0"/>
                </a:cubicBezTo>
                <a:cubicBezTo>
                  <a:pt x="74" y="0"/>
                  <a:pt x="75" y="0"/>
                  <a:pt x="77" y="1"/>
                </a:cubicBezTo>
                <a:cubicBezTo>
                  <a:pt x="85" y="3"/>
                  <a:pt x="90" y="7"/>
                  <a:pt x="90" y="16"/>
                </a:cubicBezTo>
                <a:cubicBezTo>
                  <a:pt x="91" y="24"/>
                  <a:pt x="88" y="32"/>
                  <a:pt x="82" y="38"/>
                </a:cubicBezTo>
                <a:cubicBezTo>
                  <a:pt x="79" y="41"/>
                  <a:pt x="80" y="45"/>
                  <a:pt x="85" y="47"/>
                </a:cubicBezTo>
                <a:cubicBezTo>
                  <a:pt x="87" y="48"/>
                  <a:pt x="89" y="48"/>
                  <a:pt x="91" y="49"/>
                </a:cubicBezTo>
                <a:cubicBezTo>
                  <a:pt x="96" y="52"/>
                  <a:pt x="100" y="54"/>
                  <a:pt x="104" y="58"/>
                </a:cubicBezTo>
                <a:cubicBezTo>
                  <a:pt x="106" y="60"/>
                  <a:pt x="108" y="66"/>
                  <a:pt x="101" y="69"/>
                </a:cubicBezTo>
                <a:close/>
                <a:moveTo>
                  <a:pt x="138" y="63"/>
                </a:moveTo>
                <a:cubicBezTo>
                  <a:pt x="136" y="60"/>
                  <a:pt x="133" y="58"/>
                  <a:pt x="129" y="57"/>
                </a:cubicBezTo>
                <a:cubicBezTo>
                  <a:pt x="128" y="56"/>
                  <a:pt x="126" y="56"/>
                  <a:pt x="125" y="55"/>
                </a:cubicBezTo>
                <a:cubicBezTo>
                  <a:pt x="122" y="54"/>
                  <a:pt x="121" y="51"/>
                  <a:pt x="123" y="49"/>
                </a:cubicBezTo>
                <a:cubicBezTo>
                  <a:pt x="128" y="45"/>
                  <a:pt x="129" y="39"/>
                  <a:pt x="129" y="34"/>
                </a:cubicBezTo>
                <a:cubicBezTo>
                  <a:pt x="129" y="27"/>
                  <a:pt x="125" y="24"/>
                  <a:pt x="120" y="23"/>
                </a:cubicBezTo>
                <a:cubicBezTo>
                  <a:pt x="118" y="23"/>
                  <a:pt x="117" y="22"/>
                  <a:pt x="116" y="22"/>
                </a:cubicBezTo>
                <a:cubicBezTo>
                  <a:pt x="115" y="22"/>
                  <a:pt x="114" y="23"/>
                  <a:pt x="112" y="23"/>
                </a:cubicBezTo>
                <a:cubicBezTo>
                  <a:pt x="107" y="24"/>
                  <a:pt x="103" y="27"/>
                  <a:pt x="103" y="34"/>
                </a:cubicBezTo>
                <a:cubicBezTo>
                  <a:pt x="103" y="39"/>
                  <a:pt x="104" y="45"/>
                  <a:pt x="109" y="49"/>
                </a:cubicBezTo>
                <a:cubicBezTo>
                  <a:pt x="111" y="51"/>
                  <a:pt x="110" y="54"/>
                  <a:pt x="107" y="55"/>
                </a:cubicBezTo>
                <a:cubicBezTo>
                  <a:pt x="107" y="55"/>
                  <a:pt x="107" y="55"/>
                  <a:pt x="107" y="55"/>
                </a:cubicBezTo>
                <a:cubicBezTo>
                  <a:pt x="107" y="55"/>
                  <a:pt x="108" y="56"/>
                  <a:pt x="108" y="56"/>
                </a:cubicBezTo>
                <a:cubicBezTo>
                  <a:pt x="110" y="58"/>
                  <a:pt x="111" y="61"/>
                  <a:pt x="111" y="64"/>
                </a:cubicBezTo>
                <a:cubicBezTo>
                  <a:pt x="110" y="67"/>
                  <a:pt x="108" y="70"/>
                  <a:pt x="105" y="72"/>
                </a:cubicBezTo>
                <a:cubicBezTo>
                  <a:pt x="104" y="72"/>
                  <a:pt x="103" y="72"/>
                  <a:pt x="102" y="73"/>
                </a:cubicBezTo>
                <a:cubicBezTo>
                  <a:pt x="106" y="73"/>
                  <a:pt x="111" y="73"/>
                  <a:pt x="116" y="74"/>
                </a:cubicBezTo>
                <a:cubicBezTo>
                  <a:pt x="122" y="73"/>
                  <a:pt x="127" y="73"/>
                  <a:pt x="132" y="72"/>
                </a:cubicBezTo>
                <a:cubicBezTo>
                  <a:pt x="134" y="72"/>
                  <a:pt x="135" y="71"/>
                  <a:pt x="137" y="71"/>
                </a:cubicBezTo>
                <a:cubicBezTo>
                  <a:pt x="141" y="69"/>
                  <a:pt x="140" y="64"/>
                  <a:pt x="138" y="63"/>
                </a:cubicBezTo>
                <a:close/>
                <a:moveTo>
                  <a:pt x="33" y="64"/>
                </a:moveTo>
                <a:cubicBezTo>
                  <a:pt x="32" y="62"/>
                  <a:pt x="33" y="59"/>
                  <a:pt x="36" y="56"/>
                </a:cubicBezTo>
                <a:cubicBezTo>
                  <a:pt x="37" y="55"/>
                  <a:pt x="38" y="54"/>
                  <a:pt x="39" y="54"/>
                </a:cubicBezTo>
                <a:cubicBezTo>
                  <a:pt x="38" y="53"/>
                  <a:pt x="37" y="53"/>
                  <a:pt x="37" y="53"/>
                </a:cubicBezTo>
                <a:cubicBezTo>
                  <a:pt x="34" y="52"/>
                  <a:pt x="33" y="48"/>
                  <a:pt x="35" y="46"/>
                </a:cubicBezTo>
                <a:cubicBezTo>
                  <a:pt x="40" y="41"/>
                  <a:pt x="42" y="36"/>
                  <a:pt x="41" y="29"/>
                </a:cubicBezTo>
                <a:cubicBezTo>
                  <a:pt x="41" y="23"/>
                  <a:pt x="37" y="19"/>
                  <a:pt x="31" y="17"/>
                </a:cubicBezTo>
                <a:cubicBezTo>
                  <a:pt x="30" y="17"/>
                  <a:pt x="28" y="17"/>
                  <a:pt x="27" y="17"/>
                </a:cubicBezTo>
                <a:cubicBezTo>
                  <a:pt x="26" y="17"/>
                  <a:pt x="24" y="17"/>
                  <a:pt x="23" y="17"/>
                </a:cubicBezTo>
                <a:cubicBezTo>
                  <a:pt x="17" y="19"/>
                  <a:pt x="13" y="23"/>
                  <a:pt x="13" y="29"/>
                </a:cubicBezTo>
                <a:cubicBezTo>
                  <a:pt x="12" y="36"/>
                  <a:pt x="14" y="41"/>
                  <a:pt x="19" y="46"/>
                </a:cubicBezTo>
                <a:cubicBezTo>
                  <a:pt x="21" y="49"/>
                  <a:pt x="20" y="52"/>
                  <a:pt x="17" y="53"/>
                </a:cubicBezTo>
                <a:cubicBezTo>
                  <a:pt x="16" y="54"/>
                  <a:pt x="14" y="54"/>
                  <a:pt x="12" y="55"/>
                </a:cubicBezTo>
                <a:cubicBezTo>
                  <a:pt x="9" y="57"/>
                  <a:pt x="5" y="59"/>
                  <a:pt x="2" y="62"/>
                </a:cubicBezTo>
                <a:cubicBezTo>
                  <a:pt x="0" y="64"/>
                  <a:pt x="0" y="68"/>
                  <a:pt x="4" y="70"/>
                </a:cubicBezTo>
                <a:cubicBezTo>
                  <a:pt x="6" y="71"/>
                  <a:pt x="7" y="72"/>
                  <a:pt x="9" y="72"/>
                </a:cubicBezTo>
                <a:cubicBezTo>
                  <a:pt x="15" y="73"/>
                  <a:pt x="20" y="73"/>
                  <a:pt x="27" y="74"/>
                </a:cubicBezTo>
                <a:cubicBezTo>
                  <a:pt x="33" y="73"/>
                  <a:pt x="37" y="73"/>
                  <a:pt x="42" y="73"/>
                </a:cubicBezTo>
                <a:cubicBezTo>
                  <a:pt x="41" y="72"/>
                  <a:pt x="40" y="72"/>
                  <a:pt x="39" y="72"/>
                </a:cubicBezTo>
                <a:cubicBezTo>
                  <a:pt x="35" y="70"/>
                  <a:pt x="33" y="67"/>
                  <a:pt x="33" y="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42" name="Freeform 44"/>
          <p:cNvSpPr>
            <a:spLocks/>
          </p:cNvSpPr>
          <p:nvPr/>
        </p:nvSpPr>
        <p:spPr bwMode="auto">
          <a:xfrm>
            <a:off x="8112590" y="3890180"/>
            <a:ext cx="229790" cy="230953"/>
          </a:xfrm>
          <a:custGeom>
            <a:avLst/>
            <a:gdLst>
              <a:gd name="T0" fmla="*/ 306387 w 68"/>
              <a:gd name="T1" fmla="*/ 297561 h 100"/>
              <a:gd name="T2" fmla="*/ 198250 w 68"/>
              <a:gd name="T3" fmla="*/ 198374 h 100"/>
              <a:gd name="T4" fmla="*/ 144182 w 68"/>
              <a:gd name="T5" fmla="*/ 184849 h 100"/>
              <a:gd name="T6" fmla="*/ 72091 w 68"/>
              <a:gd name="T7" fmla="*/ 148781 h 100"/>
              <a:gd name="T8" fmla="*/ 148688 w 68"/>
              <a:gd name="T9" fmla="*/ 112713 h 100"/>
              <a:gd name="T10" fmla="*/ 225285 w 68"/>
              <a:gd name="T11" fmla="*/ 144272 h 100"/>
              <a:gd name="T12" fmla="*/ 265836 w 68"/>
              <a:gd name="T13" fmla="*/ 139764 h 100"/>
              <a:gd name="T14" fmla="*/ 283859 w 68"/>
              <a:gd name="T15" fmla="*/ 112713 h 100"/>
              <a:gd name="T16" fmla="*/ 184733 w 68"/>
              <a:gd name="T17" fmla="*/ 54102 h 100"/>
              <a:gd name="T18" fmla="*/ 184733 w 68"/>
              <a:gd name="T19" fmla="*/ 18034 h 100"/>
              <a:gd name="T20" fmla="*/ 162205 w 68"/>
              <a:gd name="T21" fmla="*/ 0 h 100"/>
              <a:gd name="T22" fmla="*/ 139676 w 68"/>
              <a:gd name="T23" fmla="*/ 0 h 100"/>
              <a:gd name="T24" fmla="*/ 121654 w 68"/>
              <a:gd name="T25" fmla="*/ 18034 h 100"/>
              <a:gd name="T26" fmla="*/ 121654 w 68"/>
              <a:gd name="T27" fmla="*/ 49594 h 100"/>
              <a:gd name="T28" fmla="*/ 0 w 68"/>
              <a:gd name="T29" fmla="*/ 148781 h 100"/>
              <a:gd name="T30" fmla="*/ 112642 w 68"/>
              <a:gd name="T31" fmla="*/ 243459 h 100"/>
              <a:gd name="T32" fmla="*/ 175722 w 68"/>
              <a:gd name="T33" fmla="*/ 261493 h 100"/>
              <a:gd name="T34" fmla="*/ 229790 w 68"/>
              <a:gd name="T35" fmla="*/ 297561 h 100"/>
              <a:gd name="T36" fmla="*/ 153194 w 68"/>
              <a:gd name="T37" fmla="*/ 338138 h 100"/>
              <a:gd name="T38" fmla="*/ 63080 w 68"/>
              <a:gd name="T39" fmla="*/ 302070 h 100"/>
              <a:gd name="T40" fmla="*/ 18023 w 68"/>
              <a:gd name="T41" fmla="*/ 311087 h 100"/>
              <a:gd name="T42" fmla="*/ 9011 w 68"/>
              <a:gd name="T43" fmla="*/ 338138 h 100"/>
              <a:gd name="T44" fmla="*/ 121654 w 68"/>
              <a:gd name="T45" fmla="*/ 396748 h 100"/>
              <a:gd name="T46" fmla="*/ 121654 w 68"/>
              <a:gd name="T47" fmla="*/ 432816 h 100"/>
              <a:gd name="T48" fmla="*/ 139676 w 68"/>
              <a:gd name="T49" fmla="*/ 450850 h 100"/>
              <a:gd name="T50" fmla="*/ 162205 w 68"/>
              <a:gd name="T51" fmla="*/ 450850 h 100"/>
              <a:gd name="T52" fmla="*/ 184733 w 68"/>
              <a:gd name="T53" fmla="*/ 432816 h 100"/>
              <a:gd name="T54" fmla="*/ 184733 w 68"/>
              <a:gd name="T55" fmla="*/ 396748 h 100"/>
              <a:gd name="T56" fmla="*/ 306387 w 68"/>
              <a:gd name="T57" fmla="*/ 297561 h 100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8" h="100">
                <a:moveTo>
                  <a:pt x="68" y="66"/>
                </a:moveTo>
                <a:cubicBezTo>
                  <a:pt x="68" y="56"/>
                  <a:pt x="60" y="48"/>
                  <a:pt x="44" y="44"/>
                </a:cubicBezTo>
                <a:cubicBezTo>
                  <a:pt x="42" y="44"/>
                  <a:pt x="33" y="41"/>
                  <a:pt x="32" y="41"/>
                </a:cubicBezTo>
                <a:cubicBezTo>
                  <a:pt x="19" y="38"/>
                  <a:pt x="16" y="36"/>
                  <a:pt x="16" y="33"/>
                </a:cubicBezTo>
                <a:cubicBezTo>
                  <a:pt x="16" y="29"/>
                  <a:pt x="20" y="25"/>
                  <a:pt x="33" y="25"/>
                </a:cubicBezTo>
                <a:cubicBezTo>
                  <a:pt x="42" y="25"/>
                  <a:pt x="50" y="32"/>
                  <a:pt x="50" y="32"/>
                </a:cubicBezTo>
                <a:cubicBezTo>
                  <a:pt x="54" y="34"/>
                  <a:pt x="56" y="34"/>
                  <a:pt x="59" y="31"/>
                </a:cubicBezTo>
                <a:cubicBezTo>
                  <a:pt x="59" y="31"/>
                  <a:pt x="63" y="28"/>
                  <a:pt x="63" y="25"/>
                </a:cubicBezTo>
                <a:cubicBezTo>
                  <a:pt x="63" y="20"/>
                  <a:pt x="52" y="14"/>
                  <a:pt x="41" y="12"/>
                </a:cubicBezTo>
                <a:cubicBezTo>
                  <a:pt x="41" y="4"/>
                  <a:pt x="41" y="4"/>
                  <a:pt x="41" y="4"/>
                </a:cubicBezTo>
                <a:cubicBezTo>
                  <a:pt x="41" y="2"/>
                  <a:pt x="39" y="0"/>
                  <a:pt x="36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29" y="0"/>
                  <a:pt x="27" y="2"/>
                  <a:pt x="27" y="4"/>
                </a:cubicBezTo>
                <a:cubicBezTo>
                  <a:pt x="27" y="11"/>
                  <a:pt x="27" y="11"/>
                  <a:pt x="27" y="11"/>
                </a:cubicBezTo>
                <a:cubicBezTo>
                  <a:pt x="9" y="13"/>
                  <a:pt x="0" y="22"/>
                  <a:pt x="0" y="33"/>
                </a:cubicBezTo>
                <a:cubicBezTo>
                  <a:pt x="0" y="46"/>
                  <a:pt x="12" y="51"/>
                  <a:pt x="25" y="54"/>
                </a:cubicBezTo>
                <a:cubicBezTo>
                  <a:pt x="27" y="55"/>
                  <a:pt x="38" y="57"/>
                  <a:pt x="39" y="58"/>
                </a:cubicBezTo>
                <a:cubicBezTo>
                  <a:pt x="49" y="60"/>
                  <a:pt x="51" y="64"/>
                  <a:pt x="51" y="66"/>
                </a:cubicBezTo>
                <a:cubicBezTo>
                  <a:pt x="51" y="71"/>
                  <a:pt x="47" y="75"/>
                  <a:pt x="34" y="75"/>
                </a:cubicBezTo>
                <a:cubicBezTo>
                  <a:pt x="26" y="75"/>
                  <a:pt x="14" y="67"/>
                  <a:pt x="14" y="67"/>
                </a:cubicBezTo>
                <a:cubicBezTo>
                  <a:pt x="10" y="65"/>
                  <a:pt x="7" y="66"/>
                  <a:pt x="4" y="69"/>
                </a:cubicBezTo>
                <a:cubicBezTo>
                  <a:pt x="4" y="69"/>
                  <a:pt x="2" y="72"/>
                  <a:pt x="2" y="75"/>
                </a:cubicBezTo>
                <a:cubicBezTo>
                  <a:pt x="2" y="79"/>
                  <a:pt x="15" y="86"/>
                  <a:pt x="27" y="88"/>
                </a:cubicBezTo>
                <a:cubicBezTo>
                  <a:pt x="27" y="96"/>
                  <a:pt x="27" y="96"/>
                  <a:pt x="27" y="96"/>
                </a:cubicBezTo>
                <a:cubicBezTo>
                  <a:pt x="27" y="98"/>
                  <a:pt x="29" y="100"/>
                  <a:pt x="31" y="100"/>
                </a:cubicBezTo>
                <a:cubicBezTo>
                  <a:pt x="36" y="100"/>
                  <a:pt x="36" y="100"/>
                  <a:pt x="36" y="100"/>
                </a:cubicBezTo>
                <a:cubicBezTo>
                  <a:pt x="39" y="100"/>
                  <a:pt x="41" y="98"/>
                  <a:pt x="41" y="96"/>
                </a:cubicBezTo>
                <a:cubicBezTo>
                  <a:pt x="41" y="88"/>
                  <a:pt x="41" y="88"/>
                  <a:pt x="41" y="88"/>
                </a:cubicBezTo>
                <a:cubicBezTo>
                  <a:pt x="59" y="87"/>
                  <a:pt x="68" y="77"/>
                  <a:pt x="68" y="6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43" name="Freeform 45"/>
          <p:cNvSpPr>
            <a:spLocks noEditPoints="1"/>
          </p:cNvSpPr>
          <p:nvPr/>
        </p:nvSpPr>
        <p:spPr bwMode="auto">
          <a:xfrm>
            <a:off x="4942822" y="1635270"/>
            <a:ext cx="304800" cy="188516"/>
          </a:xfrm>
          <a:custGeom>
            <a:avLst/>
            <a:gdLst>
              <a:gd name="T0" fmla="*/ 189653 w 90"/>
              <a:gd name="T1" fmla="*/ 215900 h 90"/>
              <a:gd name="T2" fmla="*/ 383822 w 90"/>
              <a:gd name="T3" fmla="*/ 215900 h 90"/>
              <a:gd name="T4" fmla="*/ 189653 w 90"/>
              <a:gd name="T5" fmla="*/ 404813 h 90"/>
              <a:gd name="T6" fmla="*/ 0 w 90"/>
              <a:gd name="T7" fmla="*/ 215900 h 90"/>
              <a:gd name="T8" fmla="*/ 189653 w 90"/>
              <a:gd name="T9" fmla="*/ 22490 h 90"/>
              <a:gd name="T10" fmla="*/ 189653 w 90"/>
              <a:gd name="T11" fmla="*/ 215900 h 90"/>
              <a:gd name="T12" fmla="*/ 216747 w 90"/>
              <a:gd name="T13" fmla="*/ 0 h 90"/>
              <a:gd name="T14" fmla="*/ 216747 w 90"/>
              <a:gd name="T15" fmla="*/ 193411 h 90"/>
              <a:gd name="T16" fmla="*/ 406400 w 90"/>
              <a:gd name="T17" fmla="*/ 193411 h 90"/>
              <a:gd name="T18" fmla="*/ 216747 w 90"/>
              <a:gd name="T19" fmla="*/ 0 h 9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90" h="90">
                <a:moveTo>
                  <a:pt x="42" y="48"/>
                </a:moveTo>
                <a:cubicBezTo>
                  <a:pt x="85" y="48"/>
                  <a:pt x="85" y="48"/>
                  <a:pt x="85" y="48"/>
                </a:cubicBezTo>
                <a:cubicBezTo>
                  <a:pt x="85" y="71"/>
                  <a:pt x="66" y="90"/>
                  <a:pt x="42" y="90"/>
                </a:cubicBezTo>
                <a:cubicBezTo>
                  <a:pt x="19" y="90"/>
                  <a:pt x="0" y="71"/>
                  <a:pt x="0" y="48"/>
                </a:cubicBezTo>
                <a:cubicBezTo>
                  <a:pt x="0" y="24"/>
                  <a:pt x="19" y="5"/>
                  <a:pt x="42" y="5"/>
                </a:cubicBezTo>
                <a:lnTo>
                  <a:pt x="42" y="48"/>
                </a:lnTo>
                <a:close/>
                <a:moveTo>
                  <a:pt x="48" y="0"/>
                </a:moveTo>
                <a:cubicBezTo>
                  <a:pt x="48" y="43"/>
                  <a:pt x="48" y="43"/>
                  <a:pt x="48" y="43"/>
                </a:cubicBezTo>
                <a:cubicBezTo>
                  <a:pt x="90" y="43"/>
                  <a:pt x="90" y="43"/>
                  <a:pt x="90" y="43"/>
                </a:cubicBezTo>
                <a:cubicBezTo>
                  <a:pt x="90" y="19"/>
                  <a:pt x="71" y="0"/>
                  <a:pt x="4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44" name="Freeform 46"/>
          <p:cNvSpPr>
            <a:spLocks noEditPoints="1"/>
          </p:cNvSpPr>
          <p:nvPr/>
        </p:nvSpPr>
        <p:spPr bwMode="auto">
          <a:xfrm>
            <a:off x="3883794" y="3857638"/>
            <a:ext cx="316706" cy="217128"/>
          </a:xfrm>
          <a:custGeom>
            <a:avLst/>
            <a:gdLst>
              <a:gd name="T0" fmla="*/ 413290 w 94"/>
              <a:gd name="T1" fmla="*/ 180367 h 94"/>
              <a:gd name="T2" fmla="*/ 363875 w 94"/>
              <a:gd name="T3" fmla="*/ 171349 h 94"/>
              <a:gd name="T4" fmla="*/ 345906 w 94"/>
              <a:gd name="T5" fmla="*/ 130766 h 94"/>
              <a:gd name="T6" fmla="*/ 377352 w 94"/>
              <a:gd name="T7" fmla="*/ 85674 h 94"/>
              <a:gd name="T8" fmla="*/ 377352 w 94"/>
              <a:gd name="T9" fmla="*/ 76656 h 94"/>
              <a:gd name="T10" fmla="*/ 345906 w 94"/>
              <a:gd name="T11" fmla="*/ 45092 h 94"/>
              <a:gd name="T12" fmla="*/ 332429 w 94"/>
              <a:gd name="T13" fmla="*/ 45092 h 94"/>
              <a:gd name="T14" fmla="*/ 291999 w 94"/>
              <a:gd name="T15" fmla="*/ 76656 h 94"/>
              <a:gd name="T16" fmla="*/ 251568 w 94"/>
              <a:gd name="T17" fmla="*/ 58619 h 94"/>
              <a:gd name="T18" fmla="*/ 242584 w 94"/>
              <a:gd name="T19" fmla="*/ 4509 h 94"/>
              <a:gd name="T20" fmla="*/ 233599 w 94"/>
              <a:gd name="T21" fmla="*/ 0 h 94"/>
              <a:gd name="T22" fmla="*/ 188676 w 94"/>
              <a:gd name="T23" fmla="*/ 0 h 94"/>
              <a:gd name="T24" fmla="*/ 179691 w 94"/>
              <a:gd name="T25" fmla="*/ 4509 h 94"/>
              <a:gd name="T26" fmla="*/ 170707 w 94"/>
              <a:gd name="T27" fmla="*/ 58619 h 94"/>
              <a:gd name="T28" fmla="*/ 130276 w 94"/>
              <a:gd name="T29" fmla="*/ 76656 h 94"/>
              <a:gd name="T30" fmla="*/ 89846 w 94"/>
              <a:gd name="T31" fmla="*/ 45092 h 94"/>
              <a:gd name="T32" fmla="*/ 76369 w 94"/>
              <a:gd name="T33" fmla="*/ 45092 h 94"/>
              <a:gd name="T34" fmla="*/ 44923 w 94"/>
              <a:gd name="T35" fmla="*/ 76656 h 94"/>
              <a:gd name="T36" fmla="*/ 44923 w 94"/>
              <a:gd name="T37" fmla="*/ 85674 h 94"/>
              <a:gd name="T38" fmla="*/ 76369 w 94"/>
              <a:gd name="T39" fmla="*/ 130766 h 94"/>
              <a:gd name="T40" fmla="*/ 58400 w 94"/>
              <a:gd name="T41" fmla="*/ 171349 h 94"/>
              <a:gd name="T42" fmla="*/ 4492 w 94"/>
              <a:gd name="T43" fmla="*/ 180367 h 94"/>
              <a:gd name="T44" fmla="*/ 0 w 94"/>
              <a:gd name="T45" fmla="*/ 189386 h 94"/>
              <a:gd name="T46" fmla="*/ 0 w 94"/>
              <a:gd name="T47" fmla="*/ 234477 h 94"/>
              <a:gd name="T48" fmla="*/ 4492 w 94"/>
              <a:gd name="T49" fmla="*/ 243496 h 94"/>
              <a:gd name="T50" fmla="*/ 58400 w 94"/>
              <a:gd name="T51" fmla="*/ 248005 h 94"/>
              <a:gd name="T52" fmla="*/ 76369 w 94"/>
              <a:gd name="T53" fmla="*/ 288588 h 94"/>
              <a:gd name="T54" fmla="*/ 44923 w 94"/>
              <a:gd name="T55" fmla="*/ 333679 h 94"/>
              <a:gd name="T56" fmla="*/ 44923 w 94"/>
              <a:gd name="T57" fmla="*/ 347207 h 94"/>
              <a:gd name="T58" fmla="*/ 76369 w 94"/>
              <a:gd name="T59" fmla="*/ 378771 h 94"/>
              <a:gd name="T60" fmla="*/ 89846 w 94"/>
              <a:gd name="T61" fmla="*/ 378771 h 94"/>
              <a:gd name="T62" fmla="*/ 130276 w 94"/>
              <a:gd name="T63" fmla="*/ 347207 h 94"/>
              <a:gd name="T64" fmla="*/ 170707 w 94"/>
              <a:gd name="T65" fmla="*/ 360734 h 94"/>
              <a:gd name="T66" fmla="*/ 179691 w 94"/>
              <a:gd name="T67" fmla="*/ 414845 h 94"/>
              <a:gd name="T68" fmla="*/ 188676 w 94"/>
              <a:gd name="T69" fmla="*/ 423863 h 94"/>
              <a:gd name="T70" fmla="*/ 233599 w 94"/>
              <a:gd name="T71" fmla="*/ 423863 h 94"/>
              <a:gd name="T72" fmla="*/ 242584 w 94"/>
              <a:gd name="T73" fmla="*/ 414845 h 94"/>
              <a:gd name="T74" fmla="*/ 251568 w 94"/>
              <a:gd name="T75" fmla="*/ 360734 h 94"/>
              <a:gd name="T76" fmla="*/ 291999 w 94"/>
              <a:gd name="T77" fmla="*/ 347207 h 94"/>
              <a:gd name="T78" fmla="*/ 332429 w 94"/>
              <a:gd name="T79" fmla="*/ 378771 h 94"/>
              <a:gd name="T80" fmla="*/ 345906 w 94"/>
              <a:gd name="T81" fmla="*/ 378771 h 94"/>
              <a:gd name="T82" fmla="*/ 377352 w 94"/>
              <a:gd name="T83" fmla="*/ 347207 h 94"/>
              <a:gd name="T84" fmla="*/ 377352 w 94"/>
              <a:gd name="T85" fmla="*/ 333679 h 94"/>
              <a:gd name="T86" fmla="*/ 345906 w 94"/>
              <a:gd name="T87" fmla="*/ 288588 h 94"/>
              <a:gd name="T88" fmla="*/ 363875 w 94"/>
              <a:gd name="T89" fmla="*/ 248005 h 94"/>
              <a:gd name="T90" fmla="*/ 413290 w 94"/>
              <a:gd name="T91" fmla="*/ 243496 h 94"/>
              <a:gd name="T92" fmla="*/ 422275 w 94"/>
              <a:gd name="T93" fmla="*/ 234477 h 94"/>
              <a:gd name="T94" fmla="*/ 422275 w 94"/>
              <a:gd name="T95" fmla="*/ 189386 h 94"/>
              <a:gd name="T96" fmla="*/ 413290 w 94"/>
              <a:gd name="T97" fmla="*/ 180367 h 94"/>
              <a:gd name="T98" fmla="*/ 211138 w 94"/>
              <a:gd name="T99" fmla="*/ 288588 h 94"/>
              <a:gd name="T100" fmla="*/ 130276 w 94"/>
              <a:gd name="T101" fmla="*/ 211932 h 94"/>
              <a:gd name="T102" fmla="*/ 211138 w 94"/>
              <a:gd name="T103" fmla="*/ 130766 h 94"/>
              <a:gd name="T104" fmla="*/ 287506 w 94"/>
              <a:gd name="T105" fmla="*/ 211932 h 94"/>
              <a:gd name="T106" fmla="*/ 211138 w 94"/>
              <a:gd name="T107" fmla="*/ 288588 h 9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94" h="94">
                <a:moveTo>
                  <a:pt x="92" y="40"/>
                </a:moveTo>
                <a:cubicBezTo>
                  <a:pt x="81" y="38"/>
                  <a:pt x="81" y="38"/>
                  <a:pt x="81" y="38"/>
                </a:cubicBezTo>
                <a:cubicBezTo>
                  <a:pt x="80" y="35"/>
                  <a:pt x="79" y="32"/>
                  <a:pt x="77" y="29"/>
                </a:cubicBezTo>
                <a:cubicBezTo>
                  <a:pt x="84" y="19"/>
                  <a:pt x="84" y="19"/>
                  <a:pt x="84" y="19"/>
                </a:cubicBezTo>
                <a:cubicBezTo>
                  <a:pt x="84" y="19"/>
                  <a:pt x="84" y="17"/>
                  <a:pt x="84" y="17"/>
                </a:cubicBezTo>
                <a:cubicBezTo>
                  <a:pt x="77" y="10"/>
                  <a:pt x="77" y="10"/>
                  <a:pt x="77" y="10"/>
                </a:cubicBezTo>
                <a:cubicBezTo>
                  <a:pt x="76" y="9"/>
                  <a:pt x="75" y="9"/>
                  <a:pt x="74" y="10"/>
                </a:cubicBezTo>
                <a:cubicBezTo>
                  <a:pt x="65" y="17"/>
                  <a:pt x="65" y="17"/>
                  <a:pt x="65" y="17"/>
                </a:cubicBezTo>
                <a:cubicBezTo>
                  <a:pt x="62" y="15"/>
                  <a:pt x="59" y="14"/>
                  <a:pt x="56" y="13"/>
                </a:cubicBezTo>
                <a:cubicBezTo>
                  <a:pt x="54" y="1"/>
                  <a:pt x="54" y="1"/>
                  <a:pt x="54" y="1"/>
                </a:cubicBezTo>
                <a:cubicBezTo>
                  <a:pt x="54" y="0"/>
                  <a:pt x="53" y="0"/>
                  <a:pt x="52" y="0"/>
                </a:cubicBezTo>
                <a:cubicBezTo>
                  <a:pt x="42" y="0"/>
                  <a:pt x="42" y="0"/>
                  <a:pt x="42" y="0"/>
                </a:cubicBezTo>
                <a:cubicBezTo>
                  <a:pt x="41" y="0"/>
                  <a:pt x="40" y="0"/>
                  <a:pt x="40" y="1"/>
                </a:cubicBezTo>
                <a:cubicBezTo>
                  <a:pt x="38" y="13"/>
                  <a:pt x="38" y="13"/>
                  <a:pt x="38" y="13"/>
                </a:cubicBezTo>
                <a:cubicBezTo>
                  <a:pt x="35" y="14"/>
                  <a:pt x="32" y="15"/>
                  <a:pt x="29" y="17"/>
                </a:cubicBezTo>
                <a:cubicBezTo>
                  <a:pt x="20" y="10"/>
                  <a:pt x="20" y="10"/>
                  <a:pt x="20" y="10"/>
                </a:cubicBezTo>
                <a:cubicBezTo>
                  <a:pt x="19" y="9"/>
                  <a:pt x="18" y="9"/>
                  <a:pt x="17" y="10"/>
                </a:cubicBezTo>
                <a:cubicBezTo>
                  <a:pt x="10" y="17"/>
                  <a:pt x="10" y="17"/>
                  <a:pt x="10" y="17"/>
                </a:cubicBezTo>
                <a:cubicBezTo>
                  <a:pt x="9" y="17"/>
                  <a:pt x="9" y="19"/>
                  <a:pt x="10" y="19"/>
                </a:cubicBezTo>
                <a:cubicBezTo>
                  <a:pt x="17" y="29"/>
                  <a:pt x="17" y="29"/>
                  <a:pt x="17" y="29"/>
                </a:cubicBezTo>
                <a:cubicBezTo>
                  <a:pt x="15" y="32"/>
                  <a:pt x="14" y="35"/>
                  <a:pt x="13" y="38"/>
                </a:cubicBezTo>
                <a:cubicBezTo>
                  <a:pt x="1" y="40"/>
                  <a:pt x="1" y="40"/>
                  <a:pt x="1" y="40"/>
                </a:cubicBezTo>
                <a:cubicBezTo>
                  <a:pt x="0" y="40"/>
                  <a:pt x="0" y="41"/>
                  <a:pt x="0" y="42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53"/>
                  <a:pt x="0" y="53"/>
                  <a:pt x="1" y="54"/>
                </a:cubicBezTo>
                <a:cubicBezTo>
                  <a:pt x="13" y="55"/>
                  <a:pt x="13" y="55"/>
                  <a:pt x="13" y="55"/>
                </a:cubicBezTo>
                <a:cubicBezTo>
                  <a:pt x="14" y="59"/>
                  <a:pt x="15" y="62"/>
                  <a:pt x="17" y="64"/>
                </a:cubicBezTo>
                <a:cubicBezTo>
                  <a:pt x="10" y="74"/>
                  <a:pt x="10" y="74"/>
                  <a:pt x="10" y="74"/>
                </a:cubicBezTo>
                <a:cubicBezTo>
                  <a:pt x="9" y="75"/>
                  <a:pt x="9" y="76"/>
                  <a:pt x="10" y="77"/>
                </a:cubicBezTo>
                <a:cubicBezTo>
                  <a:pt x="17" y="84"/>
                  <a:pt x="17" y="84"/>
                  <a:pt x="17" y="84"/>
                </a:cubicBezTo>
                <a:cubicBezTo>
                  <a:pt x="18" y="84"/>
                  <a:pt x="19" y="84"/>
                  <a:pt x="20" y="84"/>
                </a:cubicBezTo>
                <a:cubicBezTo>
                  <a:pt x="29" y="77"/>
                  <a:pt x="29" y="77"/>
                  <a:pt x="29" y="77"/>
                </a:cubicBezTo>
                <a:cubicBezTo>
                  <a:pt x="32" y="78"/>
                  <a:pt x="35" y="80"/>
                  <a:pt x="38" y="80"/>
                </a:cubicBezTo>
                <a:cubicBezTo>
                  <a:pt x="40" y="92"/>
                  <a:pt x="40" y="92"/>
                  <a:pt x="40" y="92"/>
                </a:cubicBezTo>
                <a:cubicBezTo>
                  <a:pt x="40" y="93"/>
                  <a:pt x="41" y="94"/>
                  <a:pt x="42" y="94"/>
                </a:cubicBezTo>
                <a:cubicBezTo>
                  <a:pt x="52" y="94"/>
                  <a:pt x="52" y="94"/>
                  <a:pt x="52" y="94"/>
                </a:cubicBezTo>
                <a:cubicBezTo>
                  <a:pt x="53" y="94"/>
                  <a:pt x="54" y="93"/>
                  <a:pt x="54" y="92"/>
                </a:cubicBezTo>
                <a:cubicBezTo>
                  <a:pt x="56" y="80"/>
                  <a:pt x="56" y="80"/>
                  <a:pt x="56" y="80"/>
                </a:cubicBezTo>
                <a:cubicBezTo>
                  <a:pt x="59" y="80"/>
                  <a:pt x="62" y="78"/>
                  <a:pt x="65" y="77"/>
                </a:cubicBezTo>
                <a:cubicBezTo>
                  <a:pt x="74" y="84"/>
                  <a:pt x="74" y="84"/>
                  <a:pt x="74" y="84"/>
                </a:cubicBezTo>
                <a:cubicBezTo>
                  <a:pt x="75" y="84"/>
                  <a:pt x="76" y="84"/>
                  <a:pt x="77" y="84"/>
                </a:cubicBezTo>
                <a:cubicBezTo>
                  <a:pt x="84" y="77"/>
                  <a:pt x="84" y="77"/>
                  <a:pt x="84" y="77"/>
                </a:cubicBezTo>
                <a:cubicBezTo>
                  <a:pt x="84" y="76"/>
                  <a:pt x="84" y="75"/>
                  <a:pt x="84" y="74"/>
                </a:cubicBezTo>
                <a:cubicBezTo>
                  <a:pt x="77" y="64"/>
                  <a:pt x="77" y="64"/>
                  <a:pt x="77" y="64"/>
                </a:cubicBezTo>
                <a:cubicBezTo>
                  <a:pt x="79" y="62"/>
                  <a:pt x="80" y="59"/>
                  <a:pt x="81" y="55"/>
                </a:cubicBezTo>
                <a:cubicBezTo>
                  <a:pt x="92" y="54"/>
                  <a:pt x="92" y="54"/>
                  <a:pt x="92" y="54"/>
                </a:cubicBezTo>
                <a:cubicBezTo>
                  <a:pt x="93" y="53"/>
                  <a:pt x="94" y="53"/>
                  <a:pt x="94" y="52"/>
                </a:cubicBezTo>
                <a:cubicBezTo>
                  <a:pt x="94" y="42"/>
                  <a:pt x="94" y="42"/>
                  <a:pt x="94" y="42"/>
                </a:cubicBezTo>
                <a:cubicBezTo>
                  <a:pt x="94" y="41"/>
                  <a:pt x="93" y="40"/>
                  <a:pt x="92" y="40"/>
                </a:cubicBezTo>
                <a:close/>
                <a:moveTo>
                  <a:pt x="47" y="64"/>
                </a:moveTo>
                <a:cubicBezTo>
                  <a:pt x="37" y="64"/>
                  <a:pt x="29" y="56"/>
                  <a:pt x="29" y="47"/>
                </a:cubicBezTo>
                <a:cubicBezTo>
                  <a:pt x="29" y="37"/>
                  <a:pt x="37" y="29"/>
                  <a:pt x="47" y="29"/>
                </a:cubicBezTo>
                <a:cubicBezTo>
                  <a:pt x="57" y="29"/>
                  <a:pt x="64" y="37"/>
                  <a:pt x="64" y="47"/>
                </a:cubicBezTo>
                <a:cubicBezTo>
                  <a:pt x="64" y="56"/>
                  <a:pt x="57" y="64"/>
                  <a:pt x="47" y="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45" name="TextBox 93"/>
          <p:cNvSpPr txBox="1">
            <a:spLocks noChangeArrowheads="1"/>
          </p:cNvSpPr>
          <p:nvPr/>
        </p:nvSpPr>
        <p:spPr bwMode="auto">
          <a:xfrm>
            <a:off x="3145380" y="1863022"/>
            <a:ext cx="1939722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rred</a:t>
            </a: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Go Live to 2016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ment </a:t>
            </a:r>
            <a:r>
              <a:rPr lang="en-US" alt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thering 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</a:t>
            </a: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endParaRPr lang="ru-RU" altLang="ru-RU" sz="105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93"/>
          <p:cNvSpPr txBox="1">
            <a:spLocks noChangeArrowheads="1"/>
          </p:cNvSpPr>
          <p:nvPr/>
        </p:nvSpPr>
        <p:spPr bwMode="auto">
          <a:xfrm>
            <a:off x="5317684" y="1267598"/>
            <a:ext cx="1890545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OT Application 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ment </a:t>
            </a:r>
            <a:r>
              <a:rPr lang="en-US" alt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thering 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</a:t>
            </a: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zed Go Live </a:t>
            </a: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 (R1 &amp; R2)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rred</a:t>
            </a: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o Live to 2018</a:t>
            </a:r>
            <a:endParaRPr lang="en-US" altLang="ru-RU" sz="105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sion</a:t>
            </a:r>
            <a:r>
              <a:rPr lang="en-US" alt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</a:t>
            </a:r>
            <a:endParaRPr lang="en-US" altLang="ru-RU" sz="105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93"/>
          <p:cNvSpPr txBox="1">
            <a:spLocks noChangeArrowheads="1"/>
          </p:cNvSpPr>
          <p:nvPr/>
        </p:nvSpPr>
        <p:spPr bwMode="auto">
          <a:xfrm>
            <a:off x="7594116" y="1483086"/>
            <a:ext cx="126314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Live (R2)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ation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Improvement  </a:t>
            </a:r>
            <a:endParaRPr lang="en-US" altLang="ru-RU" sz="10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93"/>
          <p:cNvSpPr txBox="1">
            <a:spLocks noChangeArrowheads="1"/>
          </p:cNvSpPr>
          <p:nvPr/>
        </p:nvSpPr>
        <p:spPr bwMode="auto">
          <a:xfrm>
            <a:off x="2183156" y="3220886"/>
            <a:ext cx="1850962" cy="900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Project Ceiling  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oint SI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Kick Off 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ment Gathering 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Development</a:t>
            </a:r>
            <a:endParaRPr lang="ru-RU" altLang="ru-RU" sz="105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93"/>
          <p:cNvSpPr txBox="1">
            <a:spLocks noChangeArrowheads="1"/>
          </p:cNvSpPr>
          <p:nvPr/>
        </p:nvSpPr>
        <p:spPr bwMode="auto">
          <a:xfrm>
            <a:off x="4261282" y="3165140"/>
            <a:ext cx="202241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Evaluation by MAMPU </a:t>
            </a:r>
            <a:endParaRPr lang="en-US" altLang="ru-RU" sz="105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wC as PMO Project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rred </a:t>
            </a: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Live to 2017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d of PD &amp; PMO  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sion &amp; additional scope of work</a:t>
            </a:r>
            <a:endParaRPr lang="en-US" altLang="ru-RU" sz="105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ru-RU" altLang="ru-RU" sz="105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Freeform 10"/>
          <p:cNvSpPr>
            <a:spLocks/>
          </p:cNvSpPr>
          <p:nvPr/>
        </p:nvSpPr>
        <p:spPr bwMode="auto">
          <a:xfrm>
            <a:off x="441206" y="2741372"/>
            <a:ext cx="1022747" cy="154511"/>
          </a:xfrm>
          <a:custGeom>
            <a:avLst/>
            <a:gdLst>
              <a:gd name="T0" fmla="*/ 1363662 w 303"/>
              <a:gd name="T1" fmla="*/ 148562 h 67"/>
              <a:gd name="T2" fmla="*/ 1291653 w 303"/>
              <a:gd name="T3" fmla="*/ 0 h 67"/>
              <a:gd name="T4" fmla="*/ 0 w 303"/>
              <a:gd name="T5" fmla="*/ 0 h 67"/>
              <a:gd name="T6" fmla="*/ 45005 w 303"/>
              <a:gd name="T7" fmla="*/ 148562 h 67"/>
              <a:gd name="T8" fmla="*/ 0 w 303"/>
              <a:gd name="T9" fmla="*/ 301625 h 67"/>
              <a:gd name="T10" fmla="*/ 1291653 w 303"/>
              <a:gd name="T11" fmla="*/ 301625 h 67"/>
              <a:gd name="T12" fmla="*/ 1363662 w 303"/>
              <a:gd name="T13" fmla="*/ 148562 h 6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03" h="67">
                <a:moveTo>
                  <a:pt x="303" y="33"/>
                </a:moveTo>
                <a:cubicBezTo>
                  <a:pt x="303" y="20"/>
                  <a:pt x="297" y="8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6" y="9"/>
                  <a:pt x="10" y="21"/>
                  <a:pt x="10" y="33"/>
                </a:cubicBezTo>
                <a:cubicBezTo>
                  <a:pt x="10" y="46"/>
                  <a:pt x="6" y="57"/>
                  <a:pt x="0" y="67"/>
                </a:cubicBezTo>
                <a:cubicBezTo>
                  <a:pt x="287" y="67"/>
                  <a:pt x="287" y="67"/>
                  <a:pt x="287" y="67"/>
                </a:cubicBezTo>
                <a:cubicBezTo>
                  <a:pt x="297" y="59"/>
                  <a:pt x="303" y="47"/>
                  <a:pt x="303" y="33"/>
                </a:cubicBez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  <a:ex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49161" y="2895883"/>
            <a:ext cx="158029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0 - 2011</a:t>
            </a:r>
          </a:p>
        </p:txBody>
      </p:sp>
      <p:sp>
        <p:nvSpPr>
          <p:cNvPr id="52" name="Line 26"/>
          <p:cNvSpPr>
            <a:spLocks noChangeShapeType="1"/>
          </p:cNvSpPr>
          <p:nvPr/>
        </p:nvSpPr>
        <p:spPr bwMode="auto">
          <a:xfrm>
            <a:off x="855275" y="2089965"/>
            <a:ext cx="0" cy="558677"/>
          </a:xfrm>
          <a:prstGeom prst="line">
            <a:avLst/>
          </a:prstGeom>
          <a:noFill/>
          <a:ln w="34925">
            <a:solidFill>
              <a:srgbClr val="41404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53" name="Oval 34"/>
          <p:cNvSpPr>
            <a:spLocks noChangeArrowheads="1"/>
          </p:cNvSpPr>
          <p:nvPr/>
        </p:nvSpPr>
        <p:spPr bwMode="auto">
          <a:xfrm>
            <a:off x="538902" y="1637912"/>
            <a:ext cx="584597" cy="396848"/>
          </a:xfrm>
          <a:prstGeom prst="ellipse">
            <a:avLst/>
          </a:prstGeom>
          <a:solidFill>
            <a:srgbClr val="69D1DA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350">
              <a:solidFill>
                <a:prstClr val="black"/>
              </a:solidFill>
            </a:endParaRPr>
          </a:p>
        </p:txBody>
      </p:sp>
      <p:sp>
        <p:nvSpPr>
          <p:cNvPr id="54" name="Freeform 43"/>
          <p:cNvSpPr>
            <a:spLocks noEditPoints="1"/>
          </p:cNvSpPr>
          <p:nvPr/>
        </p:nvSpPr>
        <p:spPr bwMode="auto">
          <a:xfrm>
            <a:off x="677015" y="1722329"/>
            <a:ext cx="310753" cy="191105"/>
          </a:xfrm>
          <a:custGeom>
            <a:avLst/>
            <a:gdLst>
              <a:gd name="T0" fmla="*/ 256709 w 92"/>
              <a:gd name="T1" fmla="*/ 49442 h 83"/>
              <a:gd name="T2" fmla="*/ 184650 w 92"/>
              <a:gd name="T3" fmla="*/ 22474 h 83"/>
              <a:gd name="T4" fmla="*/ 130606 w 92"/>
              <a:gd name="T5" fmla="*/ 49442 h 83"/>
              <a:gd name="T6" fmla="*/ 234190 w 92"/>
              <a:gd name="T7" fmla="*/ 0 h 83"/>
              <a:gd name="T8" fmla="*/ 63051 w 92"/>
              <a:gd name="T9" fmla="*/ 206758 h 83"/>
              <a:gd name="T10" fmla="*/ 166636 w 92"/>
              <a:gd name="T11" fmla="*/ 193274 h 83"/>
              <a:gd name="T12" fmla="*/ 225183 w 92"/>
              <a:gd name="T13" fmla="*/ 170800 h 83"/>
              <a:gd name="T14" fmla="*/ 247701 w 92"/>
              <a:gd name="T15" fmla="*/ 206758 h 83"/>
              <a:gd name="T16" fmla="*/ 414337 w 92"/>
              <a:gd name="T17" fmla="*/ 148326 h 83"/>
              <a:gd name="T18" fmla="*/ 364797 w 92"/>
              <a:gd name="T19" fmla="*/ 62926 h 83"/>
              <a:gd name="T20" fmla="*/ 333271 w 92"/>
              <a:gd name="T21" fmla="*/ 62926 h 83"/>
              <a:gd name="T22" fmla="*/ 297242 w 92"/>
              <a:gd name="T23" fmla="*/ 62926 h 83"/>
              <a:gd name="T24" fmla="*/ 252205 w 92"/>
              <a:gd name="T25" fmla="*/ 62926 h 83"/>
              <a:gd name="T26" fmla="*/ 130606 w 92"/>
              <a:gd name="T27" fmla="*/ 62926 h 83"/>
              <a:gd name="T28" fmla="*/ 76562 w 92"/>
              <a:gd name="T29" fmla="*/ 62926 h 83"/>
              <a:gd name="T30" fmla="*/ 45037 w 92"/>
              <a:gd name="T31" fmla="*/ 62926 h 83"/>
              <a:gd name="T32" fmla="*/ 0 w 92"/>
              <a:gd name="T33" fmla="*/ 148326 h 83"/>
              <a:gd name="T34" fmla="*/ 351286 w 92"/>
              <a:gd name="T35" fmla="*/ 224737 h 83"/>
              <a:gd name="T36" fmla="*/ 247701 w 92"/>
              <a:gd name="T37" fmla="*/ 238221 h 83"/>
              <a:gd name="T38" fmla="*/ 184650 w 92"/>
              <a:gd name="T39" fmla="*/ 260695 h 83"/>
              <a:gd name="T40" fmla="*/ 166636 w 92"/>
              <a:gd name="T41" fmla="*/ 224737 h 83"/>
              <a:gd name="T42" fmla="*/ 0 w 92"/>
              <a:gd name="T43" fmla="*/ 188779 h 83"/>
              <a:gd name="T44" fmla="*/ 45037 w 92"/>
              <a:gd name="T45" fmla="*/ 373063 h 83"/>
              <a:gd name="T46" fmla="*/ 76562 w 92"/>
              <a:gd name="T47" fmla="*/ 373063 h 83"/>
              <a:gd name="T48" fmla="*/ 315256 w 92"/>
              <a:gd name="T49" fmla="*/ 373063 h 83"/>
              <a:gd name="T50" fmla="*/ 342278 w 92"/>
              <a:gd name="T51" fmla="*/ 373063 h 83"/>
              <a:gd name="T52" fmla="*/ 414337 w 92"/>
              <a:gd name="T53" fmla="*/ 319126 h 83"/>
              <a:gd name="T54" fmla="*/ 351286 w 92"/>
              <a:gd name="T55" fmla="*/ 224737 h 83"/>
              <a:gd name="T56" fmla="*/ 184650 w 92"/>
              <a:gd name="T57" fmla="*/ 188779 h 83"/>
              <a:gd name="T58" fmla="*/ 180147 w 92"/>
              <a:gd name="T59" fmla="*/ 202263 h 83"/>
              <a:gd name="T60" fmla="*/ 180147 w 92"/>
              <a:gd name="T61" fmla="*/ 224737 h 83"/>
              <a:gd name="T62" fmla="*/ 180147 w 92"/>
              <a:gd name="T63" fmla="*/ 238221 h 83"/>
              <a:gd name="T64" fmla="*/ 225183 w 92"/>
              <a:gd name="T65" fmla="*/ 247210 h 83"/>
              <a:gd name="T66" fmla="*/ 234190 w 92"/>
              <a:gd name="T67" fmla="*/ 229231 h 83"/>
              <a:gd name="T68" fmla="*/ 234190 w 92"/>
              <a:gd name="T69" fmla="*/ 211253 h 83"/>
              <a:gd name="T70" fmla="*/ 234190 w 92"/>
              <a:gd name="T71" fmla="*/ 193274 h 8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2" h="83">
                <a:moveTo>
                  <a:pt x="62" y="11"/>
                </a:moveTo>
                <a:cubicBezTo>
                  <a:pt x="57" y="11"/>
                  <a:pt x="57" y="11"/>
                  <a:pt x="57" y="11"/>
                </a:cubicBezTo>
                <a:cubicBezTo>
                  <a:pt x="56" y="8"/>
                  <a:pt x="54" y="5"/>
                  <a:pt x="51" y="5"/>
                </a:cubicBezTo>
                <a:cubicBezTo>
                  <a:pt x="41" y="5"/>
                  <a:pt x="41" y="5"/>
                  <a:pt x="41" y="5"/>
                </a:cubicBezTo>
                <a:cubicBezTo>
                  <a:pt x="38" y="5"/>
                  <a:pt x="35" y="8"/>
                  <a:pt x="35" y="11"/>
                </a:cubicBezTo>
                <a:cubicBezTo>
                  <a:pt x="29" y="11"/>
                  <a:pt x="29" y="11"/>
                  <a:pt x="29" y="11"/>
                </a:cubicBezTo>
                <a:cubicBezTo>
                  <a:pt x="29" y="5"/>
                  <a:pt x="34" y="0"/>
                  <a:pt x="39" y="0"/>
                </a:cubicBezTo>
                <a:cubicBezTo>
                  <a:pt x="52" y="0"/>
                  <a:pt x="52" y="0"/>
                  <a:pt x="52" y="0"/>
                </a:cubicBezTo>
                <a:cubicBezTo>
                  <a:pt x="58" y="0"/>
                  <a:pt x="62" y="5"/>
                  <a:pt x="62" y="11"/>
                </a:cubicBezTo>
                <a:close/>
                <a:moveTo>
                  <a:pt x="14" y="46"/>
                </a:moveTo>
                <a:cubicBezTo>
                  <a:pt x="37" y="46"/>
                  <a:pt x="37" y="46"/>
                  <a:pt x="37" y="46"/>
                </a:cubicBezTo>
                <a:cubicBezTo>
                  <a:pt x="37" y="43"/>
                  <a:pt x="37" y="43"/>
                  <a:pt x="37" y="43"/>
                </a:cubicBezTo>
                <a:cubicBezTo>
                  <a:pt x="37" y="40"/>
                  <a:pt x="39" y="38"/>
                  <a:pt x="41" y="38"/>
                </a:cubicBezTo>
                <a:cubicBezTo>
                  <a:pt x="50" y="38"/>
                  <a:pt x="50" y="38"/>
                  <a:pt x="50" y="38"/>
                </a:cubicBezTo>
                <a:cubicBezTo>
                  <a:pt x="53" y="38"/>
                  <a:pt x="55" y="40"/>
                  <a:pt x="55" y="43"/>
                </a:cubicBezTo>
                <a:cubicBezTo>
                  <a:pt x="55" y="46"/>
                  <a:pt x="55" y="46"/>
                  <a:pt x="55" y="46"/>
                </a:cubicBezTo>
                <a:cubicBezTo>
                  <a:pt x="78" y="46"/>
                  <a:pt x="78" y="46"/>
                  <a:pt x="78" y="46"/>
                </a:cubicBezTo>
                <a:cubicBezTo>
                  <a:pt x="85" y="46"/>
                  <a:pt x="91" y="40"/>
                  <a:pt x="92" y="33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19"/>
                  <a:pt x="87" y="14"/>
                  <a:pt x="81" y="14"/>
                </a:cubicBezTo>
                <a:cubicBezTo>
                  <a:pt x="76" y="14"/>
                  <a:pt x="76" y="14"/>
                  <a:pt x="76" y="14"/>
                </a:cubicBezTo>
                <a:cubicBezTo>
                  <a:pt x="74" y="14"/>
                  <a:pt x="74" y="14"/>
                  <a:pt x="74" y="14"/>
                </a:cubicBezTo>
                <a:cubicBezTo>
                  <a:pt x="70" y="14"/>
                  <a:pt x="70" y="14"/>
                  <a:pt x="70" y="14"/>
                </a:cubicBezTo>
                <a:cubicBezTo>
                  <a:pt x="66" y="14"/>
                  <a:pt x="66" y="14"/>
                  <a:pt x="66" y="14"/>
                </a:cubicBezTo>
                <a:cubicBezTo>
                  <a:pt x="63" y="14"/>
                  <a:pt x="63" y="14"/>
                  <a:pt x="63" y="14"/>
                </a:cubicBezTo>
                <a:cubicBezTo>
                  <a:pt x="56" y="14"/>
                  <a:pt x="56" y="14"/>
                  <a:pt x="56" y="14"/>
                </a:cubicBezTo>
                <a:cubicBezTo>
                  <a:pt x="35" y="14"/>
                  <a:pt x="35" y="14"/>
                  <a:pt x="35" y="14"/>
                </a:cubicBezTo>
                <a:cubicBezTo>
                  <a:pt x="29" y="14"/>
                  <a:pt x="29" y="14"/>
                  <a:pt x="29" y="14"/>
                </a:cubicBezTo>
                <a:cubicBezTo>
                  <a:pt x="21" y="14"/>
                  <a:pt x="21" y="14"/>
                  <a:pt x="21" y="14"/>
                </a:cubicBezTo>
                <a:cubicBezTo>
                  <a:pt x="17" y="14"/>
                  <a:pt x="17" y="14"/>
                  <a:pt x="17" y="14"/>
                </a:cubicBezTo>
                <a:cubicBezTo>
                  <a:pt x="14" y="14"/>
                  <a:pt x="14" y="14"/>
                  <a:pt x="14" y="14"/>
                </a:cubicBezTo>
                <a:cubicBezTo>
                  <a:pt x="10" y="14"/>
                  <a:pt x="10" y="14"/>
                  <a:pt x="10" y="14"/>
                </a:cubicBezTo>
                <a:cubicBezTo>
                  <a:pt x="5" y="14"/>
                  <a:pt x="0" y="19"/>
                  <a:pt x="0" y="26"/>
                </a:cubicBezTo>
                <a:cubicBezTo>
                  <a:pt x="0" y="33"/>
                  <a:pt x="0" y="33"/>
                  <a:pt x="0" y="33"/>
                </a:cubicBezTo>
                <a:cubicBezTo>
                  <a:pt x="1" y="40"/>
                  <a:pt x="7" y="46"/>
                  <a:pt x="14" y="46"/>
                </a:cubicBezTo>
                <a:close/>
                <a:moveTo>
                  <a:pt x="78" y="50"/>
                </a:moveTo>
                <a:cubicBezTo>
                  <a:pt x="55" y="50"/>
                  <a:pt x="55" y="50"/>
                  <a:pt x="55" y="50"/>
                </a:cubicBezTo>
                <a:cubicBezTo>
                  <a:pt x="55" y="53"/>
                  <a:pt x="55" y="53"/>
                  <a:pt x="55" y="53"/>
                </a:cubicBezTo>
                <a:cubicBezTo>
                  <a:pt x="55" y="56"/>
                  <a:pt x="53" y="58"/>
                  <a:pt x="50" y="58"/>
                </a:cubicBezTo>
                <a:cubicBezTo>
                  <a:pt x="41" y="58"/>
                  <a:pt x="41" y="58"/>
                  <a:pt x="41" y="58"/>
                </a:cubicBezTo>
                <a:cubicBezTo>
                  <a:pt x="39" y="58"/>
                  <a:pt x="37" y="56"/>
                  <a:pt x="37" y="53"/>
                </a:cubicBezTo>
                <a:cubicBezTo>
                  <a:pt x="37" y="50"/>
                  <a:pt x="37" y="50"/>
                  <a:pt x="37" y="50"/>
                </a:cubicBezTo>
                <a:cubicBezTo>
                  <a:pt x="14" y="50"/>
                  <a:pt x="14" y="50"/>
                  <a:pt x="14" y="50"/>
                </a:cubicBezTo>
                <a:cubicBezTo>
                  <a:pt x="8" y="50"/>
                  <a:pt x="3" y="47"/>
                  <a:pt x="0" y="42"/>
                </a:cubicBezTo>
                <a:cubicBezTo>
                  <a:pt x="0" y="71"/>
                  <a:pt x="0" y="71"/>
                  <a:pt x="0" y="71"/>
                </a:cubicBezTo>
                <a:cubicBezTo>
                  <a:pt x="0" y="77"/>
                  <a:pt x="5" y="83"/>
                  <a:pt x="10" y="83"/>
                </a:cubicBezTo>
                <a:cubicBezTo>
                  <a:pt x="14" y="83"/>
                  <a:pt x="14" y="83"/>
                  <a:pt x="14" y="83"/>
                </a:cubicBezTo>
                <a:cubicBezTo>
                  <a:pt x="17" y="83"/>
                  <a:pt x="17" y="83"/>
                  <a:pt x="17" y="83"/>
                </a:cubicBezTo>
                <a:cubicBezTo>
                  <a:pt x="21" y="83"/>
                  <a:pt x="21" y="83"/>
                  <a:pt x="21" y="83"/>
                </a:cubicBezTo>
                <a:cubicBezTo>
                  <a:pt x="70" y="83"/>
                  <a:pt x="70" y="83"/>
                  <a:pt x="70" y="83"/>
                </a:cubicBezTo>
                <a:cubicBezTo>
                  <a:pt x="74" y="83"/>
                  <a:pt x="74" y="83"/>
                  <a:pt x="74" y="83"/>
                </a:cubicBezTo>
                <a:cubicBezTo>
                  <a:pt x="76" y="83"/>
                  <a:pt x="76" y="83"/>
                  <a:pt x="76" y="83"/>
                </a:cubicBezTo>
                <a:cubicBezTo>
                  <a:pt x="81" y="83"/>
                  <a:pt x="81" y="83"/>
                  <a:pt x="81" y="83"/>
                </a:cubicBezTo>
                <a:cubicBezTo>
                  <a:pt x="87" y="83"/>
                  <a:pt x="92" y="77"/>
                  <a:pt x="92" y="71"/>
                </a:cubicBezTo>
                <a:cubicBezTo>
                  <a:pt x="92" y="42"/>
                  <a:pt x="92" y="42"/>
                  <a:pt x="92" y="42"/>
                </a:cubicBezTo>
                <a:cubicBezTo>
                  <a:pt x="89" y="47"/>
                  <a:pt x="84" y="50"/>
                  <a:pt x="78" y="50"/>
                </a:cubicBezTo>
                <a:close/>
                <a:moveTo>
                  <a:pt x="50" y="42"/>
                </a:moveTo>
                <a:cubicBezTo>
                  <a:pt x="41" y="42"/>
                  <a:pt x="41" y="42"/>
                  <a:pt x="41" y="42"/>
                </a:cubicBezTo>
                <a:cubicBezTo>
                  <a:pt x="41" y="42"/>
                  <a:pt x="40" y="42"/>
                  <a:pt x="40" y="43"/>
                </a:cubicBezTo>
                <a:cubicBezTo>
                  <a:pt x="40" y="45"/>
                  <a:pt x="40" y="45"/>
                  <a:pt x="40" y="45"/>
                </a:cubicBezTo>
                <a:cubicBezTo>
                  <a:pt x="40" y="47"/>
                  <a:pt x="40" y="47"/>
                  <a:pt x="40" y="47"/>
                </a:cubicBezTo>
                <a:cubicBezTo>
                  <a:pt x="40" y="50"/>
                  <a:pt x="40" y="50"/>
                  <a:pt x="40" y="50"/>
                </a:cubicBezTo>
                <a:cubicBezTo>
                  <a:pt x="40" y="51"/>
                  <a:pt x="40" y="51"/>
                  <a:pt x="40" y="51"/>
                </a:cubicBezTo>
                <a:cubicBezTo>
                  <a:pt x="40" y="53"/>
                  <a:pt x="40" y="53"/>
                  <a:pt x="40" y="53"/>
                </a:cubicBezTo>
                <a:cubicBezTo>
                  <a:pt x="40" y="54"/>
                  <a:pt x="41" y="55"/>
                  <a:pt x="41" y="55"/>
                </a:cubicBezTo>
                <a:cubicBezTo>
                  <a:pt x="50" y="55"/>
                  <a:pt x="50" y="55"/>
                  <a:pt x="50" y="55"/>
                </a:cubicBezTo>
                <a:cubicBezTo>
                  <a:pt x="51" y="55"/>
                  <a:pt x="52" y="54"/>
                  <a:pt x="52" y="53"/>
                </a:cubicBezTo>
                <a:cubicBezTo>
                  <a:pt x="52" y="51"/>
                  <a:pt x="52" y="51"/>
                  <a:pt x="52" y="51"/>
                </a:cubicBezTo>
                <a:cubicBezTo>
                  <a:pt x="52" y="50"/>
                  <a:pt x="52" y="50"/>
                  <a:pt x="52" y="50"/>
                </a:cubicBezTo>
                <a:cubicBezTo>
                  <a:pt x="52" y="47"/>
                  <a:pt x="52" y="47"/>
                  <a:pt x="52" y="47"/>
                </a:cubicBezTo>
                <a:cubicBezTo>
                  <a:pt x="52" y="45"/>
                  <a:pt x="52" y="45"/>
                  <a:pt x="52" y="45"/>
                </a:cubicBezTo>
                <a:cubicBezTo>
                  <a:pt x="52" y="43"/>
                  <a:pt x="52" y="43"/>
                  <a:pt x="52" y="43"/>
                </a:cubicBezTo>
                <a:cubicBezTo>
                  <a:pt x="52" y="42"/>
                  <a:pt x="51" y="42"/>
                  <a:pt x="50" y="4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61" name="Freeform 40"/>
          <p:cNvSpPr>
            <a:spLocks noEditPoints="1"/>
          </p:cNvSpPr>
          <p:nvPr/>
        </p:nvSpPr>
        <p:spPr bwMode="auto">
          <a:xfrm>
            <a:off x="1631695" y="4018926"/>
            <a:ext cx="404813" cy="184599"/>
          </a:xfrm>
          <a:custGeom>
            <a:avLst/>
            <a:gdLst>
              <a:gd name="T0" fmla="*/ 413808 w 120"/>
              <a:gd name="T1" fmla="*/ 189191 h 80"/>
              <a:gd name="T2" fmla="*/ 197908 w 120"/>
              <a:gd name="T3" fmla="*/ 90091 h 80"/>
              <a:gd name="T4" fmla="*/ 184415 w 120"/>
              <a:gd name="T5" fmla="*/ 63064 h 80"/>
              <a:gd name="T6" fmla="*/ 427302 w 120"/>
              <a:gd name="T7" fmla="*/ 36036 h 80"/>
              <a:gd name="T8" fmla="*/ 445294 w 120"/>
              <a:gd name="T9" fmla="*/ 9009 h 80"/>
              <a:gd name="T10" fmla="*/ 490273 w 120"/>
              <a:gd name="T11" fmla="*/ 157659 h 80"/>
              <a:gd name="T12" fmla="*/ 535252 w 120"/>
              <a:gd name="T13" fmla="*/ 153154 h 80"/>
              <a:gd name="T14" fmla="*/ 472281 w 120"/>
              <a:gd name="T15" fmla="*/ 0 h 80"/>
              <a:gd name="T16" fmla="*/ 13494 w 120"/>
              <a:gd name="T17" fmla="*/ 193695 h 80"/>
              <a:gd name="T18" fmla="*/ 62971 w 120"/>
              <a:gd name="T19" fmla="*/ 36036 h 80"/>
              <a:gd name="T20" fmla="*/ 26988 w 120"/>
              <a:gd name="T21" fmla="*/ 22523 h 80"/>
              <a:gd name="T22" fmla="*/ 0 w 120"/>
              <a:gd name="T23" fmla="*/ 180182 h 80"/>
              <a:gd name="T24" fmla="*/ 184415 w 120"/>
              <a:gd name="T25" fmla="*/ 301804 h 80"/>
              <a:gd name="T26" fmla="*/ 166423 w 120"/>
              <a:gd name="T27" fmla="*/ 324327 h 80"/>
              <a:gd name="T28" fmla="*/ 197908 w 120"/>
              <a:gd name="T29" fmla="*/ 351354 h 80"/>
              <a:gd name="T30" fmla="*/ 215900 w 120"/>
              <a:gd name="T31" fmla="*/ 328831 h 80"/>
              <a:gd name="T32" fmla="*/ 121444 w 120"/>
              <a:gd name="T33" fmla="*/ 328831 h 80"/>
              <a:gd name="T34" fmla="*/ 170921 w 120"/>
              <a:gd name="T35" fmla="*/ 265768 h 80"/>
              <a:gd name="T36" fmla="*/ 130440 w 120"/>
              <a:gd name="T37" fmla="*/ 288290 h 80"/>
              <a:gd name="T38" fmla="*/ 80963 w 120"/>
              <a:gd name="T39" fmla="*/ 265768 h 80"/>
              <a:gd name="T40" fmla="*/ 112448 w 120"/>
              <a:gd name="T41" fmla="*/ 292795 h 80"/>
              <a:gd name="T42" fmla="*/ 134938 w 120"/>
              <a:gd name="T43" fmla="*/ 229731 h 80"/>
              <a:gd name="T44" fmla="*/ 94456 w 120"/>
              <a:gd name="T45" fmla="*/ 247750 h 80"/>
              <a:gd name="T46" fmla="*/ 71967 w 120"/>
              <a:gd name="T47" fmla="*/ 252254 h 80"/>
              <a:gd name="T48" fmla="*/ 71967 w 120"/>
              <a:gd name="T49" fmla="*/ 193695 h 80"/>
              <a:gd name="T50" fmla="*/ 62971 w 120"/>
              <a:gd name="T51" fmla="*/ 207209 h 80"/>
              <a:gd name="T52" fmla="*/ 49477 w 120"/>
              <a:gd name="T53" fmla="*/ 252254 h 80"/>
              <a:gd name="T54" fmla="*/ 409310 w 120"/>
              <a:gd name="T55" fmla="*/ 225227 h 80"/>
              <a:gd name="T56" fmla="*/ 269875 w 120"/>
              <a:gd name="T57" fmla="*/ 85586 h 80"/>
              <a:gd name="T58" fmla="*/ 197908 w 120"/>
              <a:gd name="T59" fmla="*/ 103604 h 80"/>
              <a:gd name="T60" fmla="*/ 175419 w 120"/>
              <a:gd name="T61" fmla="*/ 49550 h 80"/>
              <a:gd name="T62" fmla="*/ 85460 w 120"/>
              <a:gd name="T63" fmla="*/ 175677 h 80"/>
              <a:gd name="T64" fmla="*/ 143933 w 120"/>
              <a:gd name="T65" fmla="*/ 220722 h 80"/>
              <a:gd name="T66" fmla="*/ 193410 w 120"/>
              <a:gd name="T67" fmla="*/ 283786 h 80"/>
              <a:gd name="T68" fmla="*/ 242888 w 120"/>
              <a:gd name="T69" fmla="*/ 333336 h 80"/>
              <a:gd name="T70" fmla="*/ 256381 w 120"/>
              <a:gd name="T71" fmla="*/ 337840 h 80"/>
              <a:gd name="T72" fmla="*/ 269875 w 120"/>
              <a:gd name="T73" fmla="*/ 306309 h 80"/>
              <a:gd name="T74" fmla="*/ 224896 w 120"/>
              <a:gd name="T75" fmla="*/ 256759 h 80"/>
              <a:gd name="T76" fmla="*/ 301360 w 120"/>
              <a:gd name="T77" fmla="*/ 310813 h 80"/>
              <a:gd name="T78" fmla="*/ 314854 w 120"/>
              <a:gd name="T79" fmla="*/ 274777 h 80"/>
              <a:gd name="T80" fmla="*/ 274373 w 120"/>
              <a:gd name="T81" fmla="*/ 238740 h 80"/>
              <a:gd name="T82" fmla="*/ 283369 w 120"/>
              <a:gd name="T83" fmla="*/ 229731 h 80"/>
              <a:gd name="T84" fmla="*/ 368829 w 120"/>
              <a:gd name="T85" fmla="*/ 270272 h 80"/>
              <a:gd name="T86" fmla="*/ 350838 w 120"/>
              <a:gd name="T87" fmla="*/ 225227 h 80"/>
              <a:gd name="T88" fmla="*/ 319352 w 120"/>
              <a:gd name="T89" fmla="*/ 193695 h 80"/>
              <a:gd name="T90" fmla="*/ 409310 w 120"/>
              <a:gd name="T91" fmla="*/ 225227 h 8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20" h="80">
                <a:moveTo>
                  <a:pt x="95" y="8"/>
                </a:moveTo>
                <a:cubicBezTo>
                  <a:pt x="106" y="36"/>
                  <a:pt x="106" y="36"/>
                  <a:pt x="106" y="36"/>
                </a:cubicBezTo>
                <a:cubicBezTo>
                  <a:pt x="92" y="42"/>
                  <a:pt x="92" y="42"/>
                  <a:pt x="92" y="42"/>
                </a:cubicBezTo>
                <a:cubicBezTo>
                  <a:pt x="85" y="35"/>
                  <a:pt x="63" y="16"/>
                  <a:pt x="61" y="16"/>
                </a:cubicBezTo>
                <a:cubicBezTo>
                  <a:pt x="59" y="16"/>
                  <a:pt x="52" y="18"/>
                  <a:pt x="52" y="18"/>
                </a:cubicBezTo>
                <a:cubicBezTo>
                  <a:pt x="51" y="18"/>
                  <a:pt x="47" y="20"/>
                  <a:pt x="44" y="20"/>
                </a:cubicBezTo>
                <a:cubicBezTo>
                  <a:pt x="42" y="20"/>
                  <a:pt x="40" y="19"/>
                  <a:pt x="40" y="19"/>
                </a:cubicBezTo>
                <a:cubicBezTo>
                  <a:pt x="39" y="18"/>
                  <a:pt x="38" y="18"/>
                  <a:pt x="38" y="17"/>
                </a:cubicBezTo>
                <a:cubicBezTo>
                  <a:pt x="38" y="15"/>
                  <a:pt x="40" y="14"/>
                  <a:pt x="41" y="14"/>
                </a:cubicBezTo>
                <a:cubicBezTo>
                  <a:pt x="47" y="10"/>
                  <a:pt x="63" y="4"/>
                  <a:pt x="64" y="4"/>
                </a:cubicBezTo>
                <a:cubicBezTo>
                  <a:pt x="64" y="4"/>
                  <a:pt x="64" y="4"/>
                  <a:pt x="64" y="4"/>
                </a:cubicBezTo>
                <a:cubicBezTo>
                  <a:pt x="68" y="4"/>
                  <a:pt x="92" y="8"/>
                  <a:pt x="95" y="8"/>
                </a:cubicBezTo>
                <a:close/>
                <a:moveTo>
                  <a:pt x="105" y="0"/>
                </a:moveTo>
                <a:cubicBezTo>
                  <a:pt x="105" y="0"/>
                  <a:pt x="104" y="0"/>
                  <a:pt x="104" y="0"/>
                </a:cubicBezTo>
                <a:cubicBezTo>
                  <a:pt x="99" y="2"/>
                  <a:pt x="99" y="2"/>
                  <a:pt x="99" y="2"/>
                </a:cubicBezTo>
                <a:cubicBezTo>
                  <a:pt x="99" y="3"/>
                  <a:pt x="98" y="3"/>
                  <a:pt x="98" y="4"/>
                </a:cubicBezTo>
                <a:cubicBezTo>
                  <a:pt x="97" y="5"/>
                  <a:pt x="97" y="5"/>
                  <a:pt x="98" y="6"/>
                </a:cubicBezTo>
                <a:cubicBezTo>
                  <a:pt x="109" y="35"/>
                  <a:pt x="109" y="35"/>
                  <a:pt x="109" y="35"/>
                </a:cubicBezTo>
                <a:cubicBezTo>
                  <a:pt x="110" y="37"/>
                  <a:pt x="111" y="38"/>
                  <a:pt x="113" y="37"/>
                </a:cubicBezTo>
                <a:cubicBezTo>
                  <a:pt x="118" y="35"/>
                  <a:pt x="118" y="35"/>
                  <a:pt x="118" y="35"/>
                </a:cubicBezTo>
                <a:cubicBezTo>
                  <a:pt x="118" y="35"/>
                  <a:pt x="119" y="34"/>
                  <a:pt x="119" y="34"/>
                </a:cubicBezTo>
                <a:cubicBezTo>
                  <a:pt x="120" y="33"/>
                  <a:pt x="120" y="32"/>
                  <a:pt x="119" y="31"/>
                </a:cubicBezTo>
                <a:cubicBezTo>
                  <a:pt x="108" y="2"/>
                  <a:pt x="108" y="2"/>
                  <a:pt x="108" y="2"/>
                </a:cubicBezTo>
                <a:cubicBezTo>
                  <a:pt x="107" y="1"/>
                  <a:pt x="106" y="0"/>
                  <a:pt x="105" y="0"/>
                </a:cubicBezTo>
                <a:close/>
                <a:moveTo>
                  <a:pt x="0" y="40"/>
                </a:moveTo>
                <a:cubicBezTo>
                  <a:pt x="0" y="41"/>
                  <a:pt x="0" y="42"/>
                  <a:pt x="1" y="42"/>
                </a:cubicBezTo>
                <a:cubicBezTo>
                  <a:pt x="2" y="43"/>
                  <a:pt x="2" y="43"/>
                  <a:pt x="3" y="43"/>
                </a:cubicBezTo>
                <a:cubicBezTo>
                  <a:pt x="8" y="44"/>
                  <a:pt x="8" y="44"/>
                  <a:pt x="8" y="44"/>
                </a:cubicBezTo>
                <a:cubicBezTo>
                  <a:pt x="10" y="44"/>
                  <a:pt x="11" y="43"/>
                  <a:pt x="11" y="41"/>
                </a:cubicBezTo>
                <a:cubicBezTo>
                  <a:pt x="14" y="8"/>
                  <a:pt x="14" y="8"/>
                  <a:pt x="14" y="8"/>
                </a:cubicBezTo>
                <a:cubicBezTo>
                  <a:pt x="14" y="7"/>
                  <a:pt x="14" y="7"/>
                  <a:pt x="13" y="6"/>
                </a:cubicBezTo>
                <a:cubicBezTo>
                  <a:pt x="13" y="5"/>
                  <a:pt x="12" y="5"/>
                  <a:pt x="11" y="5"/>
                </a:cubicBezTo>
                <a:cubicBezTo>
                  <a:pt x="6" y="5"/>
                  <a:pt x="6" y="5"/>
                  <a:pt x="6" y="5"/>
                </a:cubicBezTo>
                <a:cubicBezTo>
                  <a:pt x="6" y="5"/>
                  <a:pt x="6" y="5"/>
                  <a:pt x="6" y="5"/>
                </a:cubicBezTo>
                <a:cubicBezTo>
                  <a:pt x="4" y="5"/>
                  <a:pt x="3" y="6"/>
                  <a:pt x="3" y="7"/>
                </a:cubicBezTo>
                <a:lnTo>
                  <a:pt x="0" y="40"/>
                </a:lnTo>
                <a:close/>
                <a:moveTo>
                  <a:pt x="49" y="69"/>
                </a:moveTo>
                <a:cubicBezTo>
                  <a:pt x="49" y="68"/>
                  <a:pt x="48" y="67"/>
                  <a:pt x="47" y="66"/>
                </a:cubicBezTo>
                <a:cubicBezTo>
                  <a:pt x="45" y="64"/>
                  <a:pt x="43" y="65"/>
                  <a:pt x="41" y="67"/>
                </a:cubicBezTo>
                <a:cubicBezTo>
                  <a:pt x="39" y="70"/>
                  <a:pt x="39" y="70"/>
                  <a:pt x="39" y="70"/>
                </a:cubicBezTo>
                <a:cubicBezTo>
                  <a:pt x="39" y="70"/>
                  <a:pt x="39" y="70"/>
                  <a:pt x="39" y="70"/>
                </a:cubicBezTo>
                <a:cubicBezTo>
                  <a:pt x="37" y="72"/>
                  <a:pt x="37" y="72"/>
                  <a:pt x="37" y="72"/>
                </a:cubicBezTo>
                <a:cubicBezTo>
                  <a:pt x="34" y="76"/>
                  <a:pt x="37" y="78"/>
                  <a:pt x="38" y="79"/>
                </a:cubicBezTo>
                <a:cubicBezTo>
                  <a:pt x="39" y="80"/>
                  <a:pt x="40" y="80"/>
                  <a:pt x="40" y="80"/>
                </a:cubicBezTo>
                <a:cubicBezTo>
                  <a:pt x="42" y="80"/>
                  <a:pt x="43" y="79"/>
                  <a:pt x="44" y="78"/>
                </a:cubicBezTo>
                <a:cubicBezTo>
                  <a:pt x="47" y="74"/>
                  <a:pt x="47" y="74"/>
                  <a:pt x="47" y="74"/>
                </a:cubicBezTo>
                <a:cubicBezTo>
                  <a:pt x="47" y="74"/>
                  <a:pt x="47" y="74"/>
                  <a:pt x="47" y="74"/>
                </a:cubicBezTo>
                <a:cubicBezTo>
                  <a:pt x="48" y="73"/>
                  <a:pt x="48" y="73"/>
                  <a:pt x="48" y="73"/>
                </a:cubicBezTo>
                <a:cubicBezTo>
                  <a:pt x="49" y="71"/>
                  <a:pt x="50" y="70"/>
                  <a:pt x="49" y="69"/>
                </a:cubicBezTo>
                <a:close/>
                <a:moveTo>
                  <a:pt x="26" y="67"/>
                </a:moveTo>
                <a:cubicBezTo>
                  <a:pt x="24" y="69"/>
                  <a:pt x="25" y="71"/>
                  <a:pt x="27" y="73"/>
                </a:cubicBezTo>
                <a:cubicBezTo>
                  <a:pt x="29" y="75"/>
                  <a:pt x="32" y="74"/>
                  <a:pt x="33" y="72"/>
                </a:cubicBezTo>
                <a:cubicBezTo>
                  <a:pt x="39" y="65"/>
                  <a:pt x="39" y="65"/>
                  <a:pt x="39" y="65"/>
                </a:cubicBezTo>
                <a:cubicBezTo>
                  <a:pt x="42" y="62"/>
                  <a:pt x="39" y="60"/>
                  <a:pt x="38" y="59"/>
                </a:cubicBezTo>
                <a:cubicBezTo>
                  <a:pt x="36" y="57"/>
                  <a:pt x="34" y="58"/>
                  <a:pt x="32" y="60"/>
                </a:cubicBezTo>
                <a:cubicBezTo>
                  <a:pt x="29" y="64"/>
                  <a:pt x="29" y="64"/>
                  <a:pt x="29" y="64"/>
                </a:cubicBezTo>
                <a:cubicBezTo>
                  <a:pt x="29" y="64"/>
                  <a:pt x="29" y="64"/>
                  <a:pt x="29" y="64"/>
                </a:cubicBezTo>
                <a:cubicBezTo>
                  <a:pt x="29" y="64"/>
                  <a:pt x="29" y="64"/>
                  <a:pt x="29" y="64"/>
                </a:cubicBezTo>
                <a:lnTo>
                  <a:pt x="26" y="67"/>
                </a:lnTo>
                <a:close/>
                <a:moveTo>
                  <a:pt x="18" y="59"/>
                </a:moveTo>
                <a:cubicBezTo>
                  <a:pt x="17" y="60"/>
                  <a:pt x="17" y="61"/>
                  <a:pt x="17" y="62"/>
                </a:cubicBezTo>
                <a:cubicBezTo>
                  <a:pt x="17" y="64"/>
                  <a:pt x="18" y="65"/>
                  <a:pt x="19" y="65"/>
                </a:cubicBezTo>
                <a:cubicBezTo>
                  <a:pt x="21" y="67"/>
                  <a:pt x="23" y="67"/>
                  <a:pt x="25" y="65"/>
                </a:cubicBezTo>
                <a:cubicBezTo>
                  <a:pt x="31" y="57"/>
                  <a:pt x="31" y="57"/>
                  <a:pt x="31" y="57"/>
                </a:cubicBezTo>
                <a:cubicBezTo>
                  <a:pt x="32" y="56"/>
                  <a:pt x="32" y="55"/>
                  <a:pt x="32" y="54"/>
                </a:cubicBezTo>
                <a:cubicBezTo>
                  <a:pt x="32" y="53"/>
                  <a:pt x="31" y="52"/>
                  <a:pt x="30" y="51"/>
                </a:cubicBezTo>
                <a:cubicBezTo>
                  <a:pt x="28" y="49"/>
                  <a:pt x="26" y="49"/>
                  <a:pt x="24" y="52"/>
                </a:cubicBezTo>
                <a:cubicBezTo>
                  <a:pt x="21" y="55"/>
                  <a:pt x="21" y="55"/>
                  <a:pt x="21" y="55"/>
                </a:cubicBezTo>
                <a:cubicBezTo>
                  <a:pt x="21" y="55"/>
                  <a:pt x="21" y="55"/>
                  <a:pt x="21" y="55"/>
                </a:cubicBezTo>
                <a:cubicBezTo>
                  <a:pt x="21" y="56"/>
                  <a:pt x="21" y="56"/>
                  <a:pt x="21" y="56"/>
                </a:cubicBezTo>
                <a:lnTo>
                  <a:pt x="18" y="59"/>
                </a:lnTo>
                <a:close/>
                <a:moveTo>
                  <a:pt x="16" y="56"/>
                </a:moveTo>
                <a:cubicBezTo>
                  <a:pt x="23" y="49"/>
                  <a:pt x="23" y="49"/>
                  <a:pt x="23" y="49"/>
                </a:cubicBezTo>
                <a:cubicBezTo>
                  <a:pt x="25" y="46"/>
                  <a:pt x="23" y="43"/>
                  <a:pt x="22" y="43"/>
                </a:cubicBezTo>
                <a:cubicBezTo>
                  <a:pt x="20" y="41"/>
                  <a:pt x="18" y="41"/>
                  <a:pt x="16" y="43"/>
                </a:cubicBezTo>
                <a:cubicBezTo>
                  <a:pt x="14" y="46"/>
                  <a:pt x="14" y="46"/>
                  <a:pt x="14" y="46"/>
                </a:cubicBezTo>
                <a:cubicBezTo>
                  <a:pt x="14" y="46"/>
                  <a:pt x="14" y="46"/>
                  <a:pt x="14" y="46"/>
                </a:cubicBezTo>
                <a:cubicBezTo>
                  <a:pt x="14" y="46"/>
                  <a:pt x="14" y="46"/>
                  <a:pt x="14" y="46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1"/>
                  <a:pt x="9" y="52"/>
                  <a:pt x="9" y="53"/>
                </a:cubicBezTo>
                <a:cubicBezTo>
                  <a:pt x="9" y="54"/>
                  <a:pt x="10" y="55"/>
                  <a:pt x="11" y="56"/>
                </a:cubicBezTo>
                <a:cubicBezTo>
                  <a:pt x="12" y="56"/>
                  <a:pt x="13" y="57"/>
                  <a:pt x="14" y="57"/>
                </a:cubicBezTo>
                <a:cubicBezTo>
                  <a:pt x="15" y="57"/>
                  <a:pt x="16" y="57"/>
                  <a:pt x="16" y="56"/>
                </a:cubicBezTo>
                <a:close/>
                <a:moveTo>
                  <a:pt x="91" y="50"/>
                </a:moveTo>
                <a:cubicBezTo>
                  <a:pt x="92" y="48"/>
                  <a:pt x="93" y="46"/>
                  <a:pt x="90" y="44"/>
                </a:cubicBezTo>
                <a:cubicBezTo>
                  <a:pt x="88" y="41"/>
                  <a:pt x="88" y="41"/>
                  <a:pt x="88" y="41"/>
                </a:cubicBezTo>
                <a:cubicBezTo>
                  <a:pt x="77" y="32"/>
                  <a:pt x="63" y="21"/>
                  <a:pt x="60" y="19"/>
                </a:cubicBezTo>
                <a:cubicBezTo>
                  <a:pt x="59" y="19"/>
                  <a:pt x="55" y="20"/>
                  <a:pt x="52" y="21"/>
                </a:cubicBezTo>
                <a:cubicBezTo>
                  <a:pt x="52" y="21"/>
                  <a:pt x="52" y="21"/>
                  <a:pt x="52" y="21"/>
                </a:cubicBezTo>
                <a:cubicBezTo>
                  <a:pt x="52" y="21"/>
                  <a:pt x="48" y="23"/>
                  <a:pt x="44" y="23"/>
                </a:cubicBezTo>
                <a:cubicBezTo>
                  <a:pt x="41" y="23"/>
                  <a:pt x="39" y="22"/>
                  <a:pt x="38" y="21"/>
                </a:cubicBezTo>
                <a:cubicBezTo>
                  <a:pt x="36" y="20"/>
                  <a:pt x="35" y="18"/>
                  <a:pt x="35" y="17"/>
                </a:cubicBezTo>
                <a:cubicBezTo>
                  <a:pt x="36" y="14"/>
                  <a:pt x="38" y="12"/>
                  <a:pt x="39" y="11"/>
                </a:cubicBezTo>
                <a:cubicBezTo>
                  <a:pt x="17" y="8"/>
                  <a:pt x="17" y="8"/>
                  <a:pt x="17" y="8"/>
                </a:cubicBezTo>
                <a:cubicBezTo>
                  <a:pt x="14" y="41"/>
                  <a:pt x="14" y="41"/>
                  <a:pt x="14" y="41"/>
                </a:cubicBezTo>
                <a:cubicBezTo>
                  <a:pt x="16" y="39"/>
                  <a:pt x="18" y="39"/>
                  <a:pt x="19" y="39"/>
                </a:cubicBezTo>
                <a:cubicBezTo>
                  <a:pt x="21" y="39"/>
                  <a:pt x="22" y="39"/>
                  <a:pt x="24" y="40"/>
                </a:cubicBezTo>
                <a:cubicBezTo>
                  <a:pt x="26" y="42"/>
                  <a:pt x="27" y="45"/>
                  <a:pt x="27" y="47"/>
                </a:cubicBezTo>
                <a:cubicBezTo>
                  <a:pt x="28" y="47"/>
                  <a:pt x="30" y="47"/>
                  <a:pt x="32" y="49"/>
                </a:cubicBezTo>
                <a:cubicBezTo>
                  <a:pt x="34" y="50"/>
                  <a:pt x="35" y="53"/>
                  <a:pt x="35" y="55"/>
                </a:cubicBezTo>
                <a:cubicBezTo>
                  <a:pt x="37" y="55"/>
                  <a:pt x="38" y="55"/>
                  <a:pt x="40" y="57"/>
                </a:cubicBezTo>
                <a:cubicBezTo>
                  <a:pt x="42" y="58"/>
                  <a:pt x="43" y="60"/>
                  <a:pt x="43" y="63"/>
                </a:cubicBezTo>
                <a:cubicBezTo>
                  <a:pt x="45" y="62"/>
                  <a:pt x="47" y="62"/>
                  <a:pt x="49" y="64"/>
                </a:cubicBezTo>
                <a:cubicBezTo>
                  <a:pt x="52" y="66"/>
                  <a:pt x="53" y="69"/>
                  <a:pt x="52" y="72"/>
                </a:cubicBezTo>
                <a:cubicBezTo>
                  <a:pt x="54" y="74"/>
                  <a:pt x="54" y="74"/>
                  <a:pt x="54" y="74"/>
                </a:cubicBezTo>
                <a:cubicBezTo>
                  <a:pt x="54" y="74"/>
                  <a:pt x="54" y="74"/>
                  <a:pt x="54" y="74"/>
                </a:cubicBezTo>
                <a:cubicBezTo>
                  <a:pt x="54" y="74"/>
                  <a:pt x="54" y="74"/>
                  <a:pt x="54" y="74"/>
                </a:cubicBezTo>
                <a:cubicBezTo>
                  <a:pt x="55" y="74"/>
                  <a:pt x="56" y="75"/>
                  <a:pt x="57" y="75"/>
                </a:cubicBezTo>
                <a:cubicBezTo>
                  <a:pt x="58" y="75"/>
                  <a:pt x="59" y="74"/>
                  <a:pt x="60" y="73"/>
                </a:cubicBezTo>
                <a:cubicBezTo>
                  <a:pt x="61" y="71"/>
                  <a:pt x="62" y="70"/>
                  <a:pt x="60" y="68"/>
                </a:cubicBezTo>
                <a:cubicBezTo>
                  <a:pt x="60" y="68"/>
                  <a:pt x="60" y="68"/>
                  <a:pt x="60" y="68"/>
                </a:cubicBezTo>
                <a:cubicBezTo>
                  <a:pt x="50" y="60"/>
                  <a:pt x="50" y="60"/>
                  <a:pt x="50" y="60"/>
                </a:cubicBezTo>
                <a:cubicBezTo>
                  <a:pt x="50" y="59"/>
                  <a:pt x="49" y="59"/>
                  <a:pt x="49" y="59"/>
                </a:cubicBezTo>
                <a:cubicBezTo>
                  <a:pt x="49" y="58"/>
                  <a:pt x="49" y="58"/>
                  <a:pt x="50" y="57"/>
                </a:cubicBezTo>
                <a:cubicBezTo>
                  <a:pt x="50" y="57"/>
                  <a:pt x="51" y="57"/>
                  <a:pt x="52" y="57"/>
                </a:cubicBezTo>
                <a:cubicBezTo>
                  <a:pt x="65" y="68"/>
                  <a:pt x="65" y="68"/>
                  <a:pt x="65" y="68"/>
                </a:cubicBezTo>
                <a:cubicBezTo>
                  <a:pt x="66" y="69"/>
                  <a:pt x="67" y="69"/>
                  <a:pt x="67" y="69"/>
                </a:cubicBezTo>
                <a:cubicBezTo>
                  <a:pt x="69" y="69"/>
                  <a:pt x="70" y="68"/>
                  <a:pt x="71" y="67"/>
                </a:cubicBezTo>
                <a:cubicBezTo>
                  <a:pt x="72" y="66"/>
                  <a:pt x="72" y="65"/>
                  <a:pt x="72" y="64"/>
                </a:cubicBezTo>
                <a:cubicBezTo>
                  <a:pt x="72" y="63"/>
                  <a:pt x="71" y="62"/>
                  <a:pt x="70" y="61"/>
                </a:cubicBezTo>
                <a:cubicBezTo>
                  <a:pt x="69" y="59"/>
                  <a:pt x="69" y="59"/>
                  <a:pt x="69" y="59"/>
                </a:cubicBezTo>
                <a:cubicBezTo>
                  <a:pt x="69" y="59"/>
                  <a:pt x="69" y="59"/>
                  <a:pt x="69" y="59"/>
                </a:cubicBezTo>
                <a:cubicBezTo>
                  <a:pt x="61" y="53"/>
                  <a:pt x="61" y="53"/>
                  <a:pt x="61" y="53"/>
                </a:cubicBezTo>
                <a:cubicBezTo>
                  <a:pt x="61" y="53"/>
                  <a:pt x="61" y="53"/>
                  <a:pt x="61" y="52"/>
                </a:cubicBezTo>
                <a:cubicBezTo>
                  <a:pt x="61" y="52"/>
                  <a:pt x="61" y="51"/>
                  <a:pt x="61" y="51"/>
                </a:cubicBezTo>
                <a:cubicBezTo>
                  <a:pt x="62" y="50"/>
                  <a:pt x="63" y="50"/>
                  <a:pt x="63" y="51"/>
                </a:cubicBezTo>
                <a:cubicBezTo>
                  <a:pt x="75" y="61"/>
                  <a:pt x="75" y="61"/>
                  <a:pt x="75" y="61"/>
                </a:cubicBezTo>
                <a:cubicBezTo>
                  <a:pt x="76" y="61"/>
                  <a:pt x="77" y="62"/>
                  <a:pt x="78" y="62"/>
                </a:cubicBezTo>
                <a:cubicBezTo>
                  <a:pt x="80" y="62"/>
                  <a:pt x="81" y="61"/>
                  <a:pt x="82" y="60"/>
                </a:cubicBezTo>
                <a:cubicBezTo>
                  <a:pt x="83" y="59"/>
                  <a:pt x="84" y="57"/>
                  <a:pt x="83" y="56"/>
                </a:cubicBezTo>
                <a:cubicBezTo>
                  <a:pt x="83" y="55"/>
                  <a:pt x="83" y="54"/>
                  <a:pt x="82" y="53"/>
                </a:cubicBezTo>
                <a:cubicBezTo>
                  <a:pt x="78" y="50"/>
                  <a:pt x="78" y="50"/>
                  <a:pt x="78" y="50"/>
                </a:cubicBezTo>
                <a:cubicBezTo>
                  <a:pt x="78" y="50"/>
                  <a:pt x="78" y="50"/>
                  <a:pt x="78" y="50"/>
                </a:cubicBezTo>
                <a:cubicBezTo>
                  <a:pt x="72" y="45"/>
                  <a:pt x="72" y="45"/>
                  <a:pt x="72" y="45"/>
                </a:cubicBezTo>
                <a:cubicBezTo>
                  <a:pt x="71" y="45"/>
                  <a:pt x="71" y="44"/>
                  <a:pt x="71" y="43"/>
                </a:cubicBezTo>
                <a:cubicBezTo>
                  <a:pt x="72" y="42"/>
                  <a:pt x="73" y="42"/>
                  <a:pt x="74" y="43"/>
                </a:cubicBezTo>
                <a:cubicBezTo>
                  <a:pt x="84" y="51"/>
                  <a:pt x="84" y="51"/>
                  <a:pt x="84" y="51"/>
                </a:cubicBezTo>
                <a:cubicBezTo>
                  <a:pt x="86" y="53"/>
                  <a:pt x="89" y="52"/>
                  <a:pt x="91" y="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62" name="Oval 37"/>
          <p:cNvSpPr>
            <a:spLocks noChangeArrowheads="1"/>
          </p:cNvSpPr>
          <p:nvPr/>
        </p:nvSpPr>
        <p:spPr bwMode="auto">
          <a:xfrm>
            <a:off x="1601988" y="3825457"/>
            <a:ext cx="583406" cy="396848"/>
          </a:xfrm>
          <a:prstGeom prst="ellipse">
            <a:avLst/>
          </a:prstGeom>
          <a:solidFill>
            <a:srgbClr val="69DAAB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1350">
              <a:solidFill>
                <a:prstClr val="black"/>
              </a:solidFill>
            </a:endParaRPr>
          </a:p>
        </p:txBody>
      </p:sp>
      <p:sp>
        <p:nvSpPr>
          <p:cNvPr id="63" name="Freeform 40"/>
          <p:cNvSpPr>
            <a:spLocks noEditPoints="1"/>
          </p:cNvSpPr>
          <p:nvPr/>
        </p:nvSpPr>
        <p:spPr bwMode="auto">
          <a:xfrm>
            <a:off x="1721968" y="3938438"/>
            <a:ext cx="404813" cy="184599"/>
          </a:xfrm>
          <a:custGeom>
            <a:avLst/>
            <a:gdLst>
              <a:gd name="T0" fmla="*/ 413808 w 120"/>
              <a:gd name="T1" fmla="*/ 189191 h 80"/>
              <a:gd name="T2" fmla="*/ 197908 w 120"/>
              <a:gd name="T3" fmla="*/ 90091 h 80"/>
              <a:gd name="T4" fmla="*/ 184415 w 120"/>
              <a:gd name="T5" fmla="*/ 63064 h 80"/>
              <a:gd name="T6" fmla="*/ 427302 w 120"/>
              <a:gd name="T7" fmla="*/ 36036 h 80"/>
              <a:gd name="T8" fmla="*/ 445294 w 120"/>
              <a:gd name="T9" fmla="*/ 9009 h 80"/>
              <a:gd name="T10" fmla="*/ 490273 w 120"/>
              <a:gd name="T11" fmla="*/ 157659 h 80"/>
              <a:gd name="T12" fmla="*/ 535252 w 120"/>
              <a:gd name="T13" fmla="*/ 153154 h 80"/>
              <a:gd name="T14" fmla="*/ 472281 w 120"/>
              <a:gd name="T15" fmla="*/ 0 h 80"/>
              <a:gd name="T16" fmla="*/ 13494 w 120"/>
              <a:gd name="T17" fmla="*/ 193695 h 80"/>
              <a:gd name="T18" fmla="*/ 62971 w 120"/>
              <a:gd name="T19" fmla="*/ 36036 h 80"/>
              <a:gd name="T20" fmla="*/ 26988 w 120"/>
              <a:gd name="T21" fmla="*/ 22523 h 80"/>
              <a:gd name="T22" fmla="*/ 0 w 120"/>
              <a:gd name="T23" fmla="*/ 180182 h 80"/>
              <a:gd name="T24" fmla="*/ 184415 w 120"/>
              <a:gd name="T25" fmla="*/ 301804 h 80"/>
              <a:gd name="T26" fmla="*/ 166423 w 120"/>
              <a:gd name="T27" fmla="*/ 324327 h 80"/>
              <a:gd name="T28" fmla="*/ 197908 w 120"/>
              <a:gd name="T29" fmla="*/ 351354 h 80"/>
              <a:gd name="T30" fmla="*/ 215900 w 120"/>
              <a:gd name="T31" fmla="*/ 328831 h 80"/>
              <a:gd name="T32" fmla="*/ 121444 w 120"/>
              <a:gd name="T33" fmla="*/ 328831 h 80"/>
              <a:gd name="T34" fmla="*/ 170921 w 120"/>
              <a:gd name="T35" fmla="*/ 265768 h 80"/>
              <a:gd name="T36" fmla="*/ 130440 w 120"/>
              <a:gd name="T37" fmla="*/ 288290 h 80"/>
              <a:gd name="T38" fmla="*/ 80963 w 120"/>
              <a:gd name="T39" fmla="*/ 265768 h 80"/>
              <a:gd name="T40" fmla="*/ 112448 w 120"/>
              <a:gd name="T41" fmla="*/ 292795 h 80"/>
              <a:gd name="T42" fmla="*/ 134938 w 120"/>
              <a:gd name="T43" fmla="*/ 229731 h 80"/>
              <a:gd name="T44" fmla="*/ 94456 w 120"/>
              <a:gd name="T45" fmla="*/ 247750 h 80"/>
              <a:gd name="T46" fmla="*/ 71967 w 120"/>
              <a:gd name="T47" fmla="*/ 252254 h 80"/>
              <a:gd name="T48" fmla="*/ 71967 w 120"/>
              <a:gd name="T49" fmla="*/ 193695 h 80"/>
              <a:gd name="T50" fmla="*/ 62971 w 120"/>
              <a:gd name="T51" fmla="*/ 207209 h 80"/>
              <a:gd name="T52" fmla="*/ 49477 w 120"/>
              <a:gd name="T53" fmla="*/ 252254 h 80"/>
              <a:gd name="T54" fmla="*/ 409310 w 120"/>
              <a:gd name="T55" fmla="*/ 225227 h 80"/>
              <a:gd name="T56" fmla="*/ 269875 w 120"/>
              <a:gd name="T57" fmla="*/ 85586 h 80"/>
              <a:gd name="T58" fmla="*/ 197908 w 120"/>
              <a:gd name="T59" fmla="*/ 103604 h 80"/>
              <a:gd name="T60" fmla="*/ 175419 w 120"/>
              <a:gd name="T61" fmla="*/ 49550 h 80"/>
              <a:gd name="T62" fmla="*/ 85460 w 120"/>
              <a:gd name="T63" fmla="*/ 175677 h 80"/>
              <a:gd name="T64" fmla="*/ 143933 w 120"/>
              <a:gd name="T65" fmla="*/ 220722 h 80"/>
              <a:gd name="T66" fmla="*/ 193410 w 120"/>
              <a:gd name="T67" fmla="*/ 283786 h 80"/>
              <a:gd name="T68" fmla="*/ 242888 w 120"/>
              <a:gd name="T69" fmla="*/ 333336 h 80"/>
              <a:gd name="T70" fmla="*/ 256381 w 120"/>
              <a:gd name="T71" fmla="*/ 337840 h 80"/>
              <a:gd name="T72" fmla="*/ 269875 w 120"/>
              <a:gd name="T73" fmla="*/ 306309 h 80"/>
              <a:gd name="T74" fmla="*/ 224896 w 120"/>
              <a:gd name="T75" fmla="*/ 256759 h 80"/>
              <a:gd name="T76" fmla="*/ 301360 w 120"/>
              <a:gd name="T77" fmla="*/ 310813 h 80"/>
              <a:gd name="T78" fmla="*/ 314854 w 120"/>
              <a:gd name="T79" fmla="*/ 274777 h 80"/>
              <a:gd name="T80" fmla="*/ 274373 w 120"/>
              <a:gd name="T81" fmla="*/ 238740 h 80"/>
              <a:gd name="T82" fmla="*/ 283369 w 120"/>
              <a:gd name="T83" fmla="*/ 229731 h 80"/>
              <a:gd name="T84" fmla="*/ 368829 w 120"/>
              <a:gd name="T85" fmla="*/ 270272 h 80"/>
              <a:gd name="T86" fmla="*/ 350838 w 120"/>
              <a:gd name="T87" fmla="*/ 225227 h 80"/>
              <a:gd name="T88" fmla="*/ 319352 w 120"/>
              <a:gd name="T89" fmla="*/ 193695 h 80"/>
              <a:gd name="T90" fmla="*/ 409310 w 120"/>
              <a:gd name="T91" fmla="*/ 225227 h 8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20" h="80">
                <a:moveTo>
                  <a:pt x="95" y="8"/>
                </a:moveTo>
                <a:cubicBezTo>
                  <a:pt x="106" y="36"/>
                  <a:pt x="106" y="36"/>
                  <a:pt x="106" y="36"/>
                </a:cubicBezTo>
                <a:cubicBezTo>
                  <a:pt x="92" y="42"/>
                  <a:pt x="92" y="42"/>
                  <a:pt x="92" y="42"/>
                </a:cubicBezTo>
                <a:cubicBezTo>
                  <a:pt x="85" y="35"/>
                  <a:pt x="63" y="16"/>
                  <a:pt x="61" y="16"/>
                </a:cubicBezTo>
                <a:cubicBezTo>
                  <a:pt x="59" y="16"/>
                  <a:pt x="52" y="18"/>
                  <a:pt x="52" y="18"/>
                </a:cubicBezTo>
                <a:cubicBezTo>
                  <a:pt x="51" y="18"/>
                  <a:pt x="47" y="20"/>
                  <a:pt x="44" y="20"/>
                </a:cubicBezTo>
                <a:cubicBezTo>
                  <a:pt x="42" y="20"/>
                  <a:pt x="40" y="19"/>
                  <a:pt x="40" y="19"/>
                </a:cubicBezTo>
                <a:cubicBezTo>
                  <a:pt x="39" y="18"/>
                  <a:pt x="38" y="18"/>
                  <a:pt x="38" y="17"/>
                </a:cubicBezTo>
                <a:cubicBezTo>
                  <a:pt x="38" y="15"/>
                  <a:pt x="40" y="14"/>
                  <a:pt x="41" y="14"/>
                </a:cubicBezTo>
                <a:cubicBezTo>
                  <a:pt x="47" y="10"/>
                  <a:pt x="63" y="4"/>
                  <a:pt x="64" y="4"/>
                </a:cubicBezTo>
                <a:cubicBezTo>
                  <a:pt x="64" y="4"/>
                  <a:pt x="64" y="4"/>
                  <a:pt x="64" y="4"/>
                </a:cubicBezTo>
                <a:cubicBezTo>
                  <a:pt x="68" y="4"/>
                  <a:pt x="92" y="8"/>
                  <a:pt x="95" y="8"/>
                </a:cubicBezTo>
                <a:close/>
                <a:moveTo>
                  <a:pt x="105" y="0"/>
                </a:moveTo>
                <a:cubicBezTo>
                  <a:pt x="105" y="0"/>
                  <a:pt x="104" y="0"/>
                  <a:pt x="104" y="0"/>
                </a:cubicBezTo>
                <a:cubicBezTo>
                  <a:pt x="99" y="2"/>
                  <a:pt x="99" y="2"/>
                  <a:pt x="99" y="2"/>
                </a:cubicBezTo>
                <a:cubicBezTo>
                  <a:pt x="99" y="3"/>
                  <a:pt x="98" y="3"/>
                  <a:pt x="98" y="4"/>
                </a:cubicBezTo>
                <a:cubicBezTo>
                  <a:pt x="97" y="5"/>
                  <a:pt x="97" y="5"/>
                  <a:pt x="98" y="6"/>
                </a:cubicBezTo>
                <a:cubicBezTo>
                  <a:pt x="109" y="35"/>
                  <a:pt x="109" y="35"/>
                  <a:pt x="109" y="35"/>
                </a:cubicBezTo>
                <a:cubicBezTo>
                  <a:pt x="110" y="37"/>
                  <a:pt x="111" y="38"/>
                  <a:pt x="113" y="37"/>
                </a:cubicBezTo>
                <a:cubicBezTo>
                  <a:pt x="118" y="35"/>
                  <a:pt x="118" y="35"/>
                  <a:pt x="118" y="35"/>
                </a:cubicBezTo>
                <a:cubicBezTo>
                  <a:pt x="118" y="35"/>
                  <a:pt x="119" y="34"/>
                  <a:pt x="119" y="34"/>
                </a:cubicBezTo>
                <a:cubicBezTo>
                  <a:pt x="120" y="33"/>
                  <a:pt x="120" y="32"/>
                  <a:pt x="119" y="31"/>
                </a:cubicBezTo>
                <a:cubicBezTo>
                  <a:pt x="108" y="2"/>
                  <a:pt x="108" y="2"/>
                  <a:pt x="108" y="2"/>
                </a:cubicBezTo>
                <a:cubicBezTo>
                  <a:pt x="107" y="1"/>
                  <a:pt x="106" y="0"/>
                  <a:pt x="105" y="0"/>
                </a:cubicBezTo>
                <a:close/>
                <a:moveTo>
                  <a:pt x="0" y="40"/>
                </a:moveTo>
                <a:cubicBezTo>
                  <a:pt x="0" y="41"/>
                  <a:pt x="0" y="42"/>
                  <a:pt x="1" y="42"/>
                </a:cubicBezTo>
                <a:cubicBezTo>
                  <a:pt x="2" y="43"/>
                  <a:pt x="2" y="43"/>
                  <a:pt x="3" y="43"/>
                </a:cubicBezTo>
                <a:cubicBezTo>
                  <a:pt x="8" y="44"/>
                  <a:pt x="8" y="44"/>
                  <a:pt x="8" y="44"/>
                </a:cubicBezTo>
                <a:cubicBezTo>
                  <a:pt x="10" y="44"/>
                  <a:pt x="11" y="43"/>
                  <a:pt x="11" y="41"/>
                </a:cubicBezTo>
                <a:cubicBezTo>
                  <a:pt x="14" y="8"/>
                  <a:pt x="14" y="8"/>
                  <a:pt x="14" y="8"/>
                </a:cubicBezTo>
                <a:cubicBezTo>
                  <a:pt x="14" y="7"/>
                  <a:pt x="14" y="7"/>
                  <a:pt x="13" y="6"/>
                </a:cubicBezTo>
                <a:cubicBezTo>
                  <a:pt x="13" y="5"/>
                  <a:pt x="12" y="5"/>
                  <a:pt x="11" y="5"/>
                </a:cubicBezTo>
                <a:cubicBezTo>
                  <a:pt x="6" y="5"/>
                  <a:pt x="6" y="5"/>
                  <a:pt x="6" y="5"/>
                </a:cubicBezTo>
                <a:cubicBezTo>
                  <a:pt x="6" y="5"/>
                  <a:pt x="6" y="5"/>
                  <a:pt x="6" y="5"/>
                </a:cubicBezTo>
                <a:cubicBezTo>
                  <a:pt x="4" y="5"/>
                  <a:pt x="3" y="6"/>
                  <a:pt x="3" y="7"/>
                </a:cubicBezTo>
                <a:lnTo>
                  <a:pt x="0" y="40"/>
                </a:lnTo>
                <a:close/>
                <a:moveTo>
                  <a:pt x="49" y="69"/>
                </a:moveTo>
                <a:cubicBezTo>
                  <a:pt x="49" y="68"/>
                  <a:pt x="48" y="67"/>
                  <a:pt x="47" y="66"/>
                </a:cubicBezTo>
                <a:cubicBezTo>
                  <a:pt x="45" y="64"/>
                  <a:pt x="43" y="65"/>
                  <a:pt x="41" y="67"/>
                </a:cubicBezTo>
                <a:cubicBezTo>
                  <a:pt x="39" y="70"/>
                  <a:pt x="39" y="70"/>
                  <a:pt x="39" y="70"/>
                </a:cubicBezTo>
                <a:cubicBezTo>
                  <a:pt x="39" y="70"/>
                  <a:pt x="39" y="70"/>
                  <a:pt x="39" y="70"/>
                </a:cubicBezTo>
                <a:cubicBezTo>
                  <a:pt x="37" y="72"/>
                  <a:pt x="37" y="72"/>
                  <a:pt x="37" y="72"/>
                </a:cubicBezTo>
                <a:cubicBezTo>
                  <a:pt x="34" y="76"/>
                  <a:pt x="37" y="78"/>
                  <a:pt x="38" y="79"/>
                </a:cubicBezTo>
                <a:cubicBezTo>
                  <a:pt x="39" y="80"/>
                  <a:pt x="40" y="80"/>
                  <a:pt x="40" y="80"/>
                </a:cubicBezTo>
                <a:cubicBezTo>
                  <a:pt x="42" y="80"/>
                  <a:pt x="43" y="79"/>
                  <a:pt x="44" y="78"/>
                </a:cubicBezTo>
                <a:cubicBezTo>
                  <a:pt x="47" y="74"/>
                  <a:pt x="47" y="74"/>
                  <a:pt x="47" y="74"/>
                </a:cubicBezTo>
                <a:cubicBezTo>
                  <a:pt x="47" y="74"/>
                  <a:pt x="47" y="74"/>
                  <a:pt x="47" y="74"/>
                </a:cubicBezTo>
                <a:cubicBezTo>
                  <a:pt x="48" y="73"/>
                  <a:pt x="48" y="73"/>
                  <a:pt x="48" y="73"/>
                </a:cubicBezTo>
                <a:cubicBezTo>
                  <a:pt x="49" y="71"/>
                  <a:pt x="50" y="70"/>
                  <a:pt x="49" y="69"/>
                </a:cubicBezTo>
                <a:close/>
                <a:moveTo>
                  <a:pt x="26" y="67"/>
                </a:moveTo>
                <a:cubicBezTo>
                  <a:pt x="24" y="69"/>
                  <a:pt x="25" y="71"/>
                  <a:pt x="27" y="73"/>
                </a:cubicBezTo>
                <a:cubicBezTo>
                  <a:pt x="29" y="75"/>
                  <a:pt x="32" y="74"/>
                  <a:pt x="33" y="72"/>
                </a:cubicBezTo>
                <a:cubicBezTo>
                  <a:pt x="39" y="65"/>
                  <a:pt x="39" y="65"/>
                  <a:pt x="39" y="65"/>
                </a:cubicBezTo>
                <a:cubicBezTo>
                  <a:pt x="42" y="62"/>
                  <a:pt x="39" y="60"/>
                  <a:pt x="38" y="59"/>
                </a:cubicBezTo>
                <a:cubicBezTo>
                  <a:pt x="36" y="57"/>
                  <a:pt x="34" y="58"/>
                  <a:pt x="32" y="60"/>
                </a:cubicBezTo>
                <a:cubicBezTo>
                  <a:pt x="29" y="64"/>
                  <a:pt x="29" y="64"/>
                  <a:pt x="29" y="64"/>
                </a:cubicBezTo>
                <a:cubicBezTo>
                  <a:pt x="29" y="64"/>
                  <a:pt x="29" y="64"/>
                  <a:pt x="29" y="64"/>
                </a:cubicBezTo>
                <a:cubicBezTo>
                  <a:pt x="29" y="64"/>
                  <a:pt x="29" y="64"/>
                  <a:pt x="29" y="64"/>
                </a:cubicBezTo>
                <a:lnTo>
                  <a:pt x="26" y="67"/>
                </a:lnTo>
                <a:close/>
                <a:moveTo>
                  <a:pt x="18" y="59"/>
                </a:moveTo>
                <a:cubicBezTo>
                  <a:pt x="17" y="60"/>
                  <a:pt x="17" y="61"/>
                  <a:pt x="17" y="62"/>
                </a:cubicBezTo>
                <a:cubicBezTo>
                  <a:pt x="17" y="64"/>
                  <a:pt x="18" y="65"/>
                  <a:pt x="19" y="65"/>
                </a:cubicBezTo>
                <a:cubicBezTo>
                  <a:pt x="21" y="67"/>
                  <a:pt x="23" y="67"/>
                  <a:pt x="25" y="65"/>
                </a:cubicBezTo>
                <a:cubicBezTo>
                  <a:pt x="31" y="57"/>
                  <a:pt x="31" y="57"/>
                  <a:pt x="31" y="57"/>
                </a:cubicBezTo>
                <a:cubicBezTo>
                  <a:pt x="32" y="56"/>
                  <a:pt x="32" y="55"/>
                  <a:pt x="32" y="54"/>
                </a:cubicBezTo>
                <a:cubicBezTo>
                  <a:pt x="32" y="53"/>
                  <a:pt x="31" y="52"/>
                  <a:pt x="30" y="51"/>
                </a:cubicBezTo>
                <a:cubicBezTo>
                  <a:pt x="28" y="49"/>
                  <a:pt x="26" y="49"/>
                  <a:pt x="24" y="52"/>
                </a:cubicBezTo>
                <a:cubicBezTo>
                  <a:pt x="21" y="55"/>
                  <a:pt x="21" y="55"/>
                  <a:pt x="21" y="55"/>
                </a:cubicBezTo>
                <a:cubicBezTo>
                  <a:pt x="21" y="55"/>
                  <a:pt x="21" y="55"/>
                  <a:pt x="21" y="55"/>
                </a:cubicBezTo>
                <a:cubicBezTo>
                  <a:pt x="21" y="56"/>
                  <a:pt x="21" y="56"/>
                  <a:pt x="21" y="56"/>
                </a:cubicBezTo>
                <a:lnTo>
                  <a:pt x="18" y="59"/>
                </a:lnTo>
                <a:close/>
                <a:moveTo>
                  <a:pt x="16" y="56"/>
                </a:moveTo>
                <a:cubicBezTo>
                  <a:pt x="23" y="49"/>
                  <a:pt x="23" y="49"/>
                  <a:pt x="23" y="49"/>
                </a:cubicBezTo>
                <a:cubicBezTo>
                  <a:pt x="25" y="46"/>
                  <a:pt x="23" y="43"/>
                  <a:pt x="22" y="43"/>
                </a:cubicBezTo>
                <a:cubicBezTo>
                  <a:pt x="20" y="41"/>
                  <a:pt x="18" y="41"/>
                  <a:pt x="16" y="43"/>
                </a:cubicBezTo>
                <a:cubicBezTo>
                  <a:pt x="14" y="46"/>
                  <a:pt x="14" y="46"/>
                  <a:pt x="14" y="46"/>
                </a:cubicBezTo>
                <a:cubicBezTo>
                  <a:pt x="14" y="46"/>
                  <a:pt x="14" y="46"/>
                  <a:pt x="14" y="46"/>
                </a:cubicBezTo>
                <a:cubicBezTo>
                  <a:pt x="14" y="46"/>
                  <a:pt x="14" y="46"/>
                  <a:pt x="14" y="46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1"/>
                  <a:pt x="9" y="52"/>
                  <a:pt x="9" y="53"/>
                </a:cubicBezTo>
                <a:cubicBezTo>
                  <a:pt x="9" y="54"/>
                  <a:pt x="10" y="55"/>
                  <a:pt x="11" y="56"/>
                </a:cubicBezTo>
                <a:cubicBezTo>
                  <a:pt x="12" y="56"/>
                  <a:pt x="13" y="57"/>
                  <a:pt x="14" y="57"/>
                </a:cubicBezTo>
                <a:cubicBezTo>
                  <a:pt x="15" y="57"/>
                  <a:pt x="16" y="57"/>
                  <a:pt x="16" y="56"/>
                </a:cubicBezTo>
                <a:close/>
                <a:moveTo>
                  <a:pt x="91" y="50"/>
                </a:moveTo>
                <a:cubicBezTo>
                  <a:pt x="92" y="48"/>
                  <a:pt x="93" y="46"/>
                  <a:pt x="90" y="44"/>
                </a:cubicBezTo>
                <a:cubicBezTo>
                  <a:pt x="88" y="41"/>
                  <a:pt x="88" y="41"/>
                  <a:pt x="88" y="41"/>
                </a:cubicBezTo>
                <a:cubicBezTo>
                  <a:pt x="77" y="32"/>
                  <a:pt x="63" y="21"/>
                  <a:pt x="60" y="19"/>
                </a:cubicBezTo>
                <a:cubicBezTo>
                  <a:pt x="59" y="19"/>
                  <a:pt x="55" y="20"/>
                  <a:pt x="52" y="21"/>
                </a:cubicBezTo>
                <a:cubicBezTo>
                  <a:pt x="52" y="21"/>
                  <a:pt x="52" y="21"/>
                  <a:pt x="52" y="21"/>
                </a:cubicBezTo>
                <a:cubicBezTo>
                  <a:pt x="52" y="21"/>
                  <a:pt x="48" y="23"/>
                  <a:pt x="44" y="23"/>
                </a:cubicBezTo>
                <a:cubicBezTo>
                  <a:pt x="41" y="23"/>
                  <a:pt x="39" y="22"/>
                  <a:pt x="38" y="21"/>
                </a:cubicBezTo>
                <a:cubicBezTo>
                  <a:pt x="36" y="20"/>
                  <a:pt x="35" y="18"/>
                  <a:pt x="35" y="17"/>
                </a:cubicBezTo>
                <a:cubicBezTo>
                  <a:pt x="36" y="14"/>
                  <a:pt x="38" y="12"/>
                  <a:pt x="39" y="11"/>
                </a:cubicBezTo>
                <a:cubicBezTo>
                  <a:pt x="17" y="8"/>
                  <a:pt x="17" y="8"/>
                  <a:pt x="17" y="8"/>
                </a:cubicBezTo>
                <a:cubicBezTo>
                  <a:pt x="14" y="41"/>
                  <a:pt x="14" y="41"/>
                  <a:pt x="14" y="41"/>
                </a:cubicBezTo>
                <a:cubicBezTo>
                  <a:pt x="16" y="39"/>
                  <a:pt x="18" y="39"/>
                  <a:pt x="19" y="39"/>
                </a:cubicBezTo>
                <a:cubicBezTo>
                  <a:pt x="21" y="39"/>
                  <a:pt x="22" y="39"/>
                  <a:pt x="24" y="40"/>
                </a:cubicBezTo>
                <a:cubicBezTo>
                  <a:pt x="26" y="42"/>
                  <a:pt x="27" y="45"/>
                  <a:pt x="27" y="47"/>
                </a:cubicBezTo>
                <a:cubicBezTo>
                  <a:pt x="28" y="47"/>
                  <a:pt x="30" y="47"/>
                  <a:pt x="32" y="49"/>
                </a:cubicBezTo>
                <a:cubicBezTo>
                  <a:pt x="34" y="50"/>
                  <a:pt x="35" y="53"/>
                  <a:pt x="35" y="55"/>
                </a:cubicBezTo>
                <a:cubicBezTo>
                  <a:pt x="37" y="55"/>
                  <a:pt x="38" y="55"/>
                  <a:pt x="40" y="57"/>
                </a:cubicBezTo>
                <a:cubicBezTo>
                  <a:pt x="42" y="58"/>
                  <a:pt x="43" y="60"/>
                  <a:pt x="43" y="63"/>
                </a:cubicBezTo>
                <a:cubicBezTo>
                  <a:pt x="45" y="62"/>
                  <a:pt x="47" y="62"/>
                  <a:pt x="49" y="64"/>
                </a:cubicBezTo>
                <a:cubicBezTo>
                  <a:pt x="52" y="66"/>
                  <a:pt x="53" y="69"/>
                  <a:pt x="52" y="72"/>
                </a:cubicBezTo>
                <a:cubicBezTo>
                  <a:pt x="54" y="74"/>
                  <a:pt x="54" y="74"/>
                  <a:pt x="54" y="74"/>
                </a:cubicBezTo>
                <a:cubicBezTo>
                  <a:pt x="54" y="74"/>
                  <a:pt x="54" y="74"/>
                  <a:pt x="54" y="74"/>
                </a:cubicBezTo>
                <a:cubicBezTo>
                  <a:pt x="54" y="74"/>
                  <a:pt x="54" y="74"/>
                  <a:pt x="54" y="74"/>
                </a:cubicBezTo>
                <a:cubicBezTo>
                  <a:pt x="55" y="74"/>
                  <a:pt x="56" y="75"/>
                  <a:pt x="57" y="75"/>
                </a:cubicBezTo>
                <a:cubicBezTo>
                  <a:pt x="58" y="75"/>
                  <a:pt x="59" y="74"/>
                  <a:pt x="60" y="73"/>
                </a:cubicBezTo>
                <a:cubicBezTo>
                  <a:pt x="61" y="71"/>
                  <a:pt x="62" y="70"/>
                  <a:pt x="60" y="68"/>
                </a:cubicBezTo>
                <a:cubicBezTo>
                  <a:pt x="60" y="68"/>
                  <a:pt x="60" y="68"/>
                  <a:pt x="60" y="68"/>
                </a:cubicBezTo>
                <a:cubicBezTo>
                  <a:pt x="50" y="60"/>
                  <a:pt x="50" y="60"/>
                  <a:pt x="50" y="60"/>
                </a:cubicBezTo>
                <a:cubicBezTo>
                  <a:pt x="50" y="59"/>
                  <a:pt x="49" y="59"/>
                  <a:pt x="49" y="59"/>
                </a:cubicBezTo>
                <a:cubicBezTo>
                  <a:pt x="49" y="58"/>
                  <a:pt x="49" y="58"/>
                  <a:pt x="50" y="57"/>
                </a:cubicBezTo>
                <a:cubicBezTo>
                  <a:pt x="50" y="57"/>
                  <a:pt x="51" y="57"/>
                  <a:pt x="52" y="57"/>
                </a:cubicBezTo>
                <a:cubicBezTo>
                  <a:pt x="65" y="68"/>
                  <a:pt x="65" y="68"/>
                  <a:pt x="65" y="68"/>
                </a:cubicBezTo>
                <a:cubicBezTo>
                  <a:pt x="66" y="69"/>
                  <a:pt x="67" y="69"/>
                  <a:pt x="67" y="69"/>
                </a:cubicBezTo>
                <a:cubicBezTo>
                  <a:pt x="69" y="69"/>
                  <a:pt x="70" y="68"/>
                  <a:pt x="71" y="67"/>
                </a:cubicBezTo>
                <a:cubicBezTo>
                  <a:pt x="72" y="66"/>
                  <a:pt x="72" y="65"/>
                  <a:pt x="72" y="64"/>
                </a:cubicBezTo>
                <a:cubicBezTo>
                  <a:pt x="72" y="63"/>
                  <a:pt x="71" y="62"/>
                  <a:pt x="70" y="61"/>
                </a:cubicBezTo>
                <a:cubicBezTo>
                  <a:pt x="69" y="59"/>
                  <a:pt x="69" y="59"/>
                  <a:pt x="69" y="59"/>
                </a:cubicBezTo>
                <a:cubicBezTo>
                  <a:pt x="69" y="59"/>
                  <a:pt x="69" y="59"/>
                  <a:pt x="69" y="59"/>
                </a:cubicBezTo>
                <a:cubicBezTo>
                  <a:pt x="61" y="53"/>
                  <a:pt x="61" y="53"/>
                  <a:pt x="61" y="53"/>
                </a:cubicBezTo>
                <a:cubicBezTo>
                  <a:pt x="61" y="53"/>
                  <a:pt x="61" y="53"/>
                  <a:pt x="61" y="52"/>
                </a:cubicBezTo>
                <a:cubicBezTo>
                  <a:pt x="61" y="52"/>
                  <a:pt x="61" y="51"/>
                  <a:pt x="61" y="51"/>
                </a:cubicBezTo>
                <a:cubicBezTo>
                  <a:pt x="62" y="50"/>
                  <a:pt x="63" y="50"/>
                  <a:pt x="63" y="51"/>
                </a:cubicBezTo>
                <a:cubicBezTo>
                  <a:pt x="75" y="61"/>
                  <a:pt x="75" y="61"/>
                  <a:pt x="75" y="61"/>
                </a:cubicBezTo>
                <a:cubicBezTo>
                  <a:pt x="76" y="61"/>
                  <a:pt x="77" y="62"/>
                  <a:pt x="78" y="62"/>
                </a:cubicBezTo>
                <a:cubicBezTo>
                  <a:pt x="80" y="62"/>
                  <a:pt x="81" y="61"/>
                  <a:pt x="82" y="60"/>
                </a:cubicBezTo>
                <a:cubicBezTo>
                  <a:pt x="83" y="59"/>
                  <a:pt x="84" y="57"/>
                  <a:pt x="83" y="56"/>
                </a:cubicBezTo>
                <a:cubicBezTo>
                  <a:pt x="83" y="55"/>
                  <a:pt x="83" y="54"/>
                  <a:pt x="82" y="53"/>
                </a:cubicBezTo>
                <a:cubicBezTo>
                  <a:pt x="78" y="50"/>
                  <a:pt x="78" y="50"/>
                  <a:pt x="78" y="50"/>
                </a:cubicBezTo>
                <a:cubicBezTo>
                  <a:pt x="78" y="50"/>
                  <a:pt x="78" y="50"/>
                  <a:pt x="78" y="50"/>
                </a:cubicBezTo>
                <a:cubicBezTo>
                  <a:pt x="72" y="45"/>
                  <a:pt x="72" y="45"/>
                  <a:pt x="72" y="45"/>
                </a:cubicBezTo>
                <a:cubicBezTo>
                  <a:pt x="71" y="45"/>
                  <a:pt x="71" y="44"/>
                  <a:pt x="71" y="43"/>
                </a:cubicBezTo>
                <a:cubicBezTo>
                  <a:pt x="72" y="42"/>
                  <a:pt x="73" y="42"/>
                  <a:pt x="74" y="43"/>
                </a:cubicBezTo>
                <a:cubicBezTo>
                  <a:pt x="84" y="51"/>
                  <a:pt x="84" y="51"/>
                  <a:pt x="84" y="51"/>
                </a:cubicBezTo>
                <a:cubicBezTo>
                  <a:pt x="86" y="53"/>
                  <a:pt x="89" y="52"/>
                  <a:pt x="91" y="5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prstClr val="black"/>
              </a:solidFill>
            </a:endParaRPr>
          </a:p>
        </p:txBody>
      </p:sp>
      <p:sp>
        <p:nvSpPr>
          <p:cNvPr id="64" name="TextBox 93"/>
          <p:cNvSpPr txBox="1">
            <a:spLocks noChangeArrowheads="1"/>
          </p:cNvSpPr>
          <p:nvPr/>
        </p:nvSpPr>
        <p:spPr bwMode="auto">
          <a:xfrm>
            <a:off x="340689" y="3351198"/>
            <a:ext cx="1263536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 Report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1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RI Lab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ru-RU" alt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523521" y="3305623"/>
            <a:ext cx="1495002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FMAS</a:t>
            </a:r>
            <a:r>
              <a:rPr lang="en-US" alt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Go Live </a:t>
            </a:r>
            <a:r>
              <a:rPr lang="en-US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R1)</a:t>
            </a:r>
            <a:endParaRPr lang="en-US" alt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OT </a:t>
            </a: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ed</a:t>
            </a:r>
          </a:p>
          <a:p>
            <a:pPr marL="17145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altLang="ru-RU" sz="105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e Tuning   </a:t>
            </a:r>
            <a:endParaRPr lang="en-US" altLang="ru-RU" sz="105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7349065" y="4786312"/>
            <a:ext cx="1600200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en-MY" altLang="en-US" sz="675" dirty="0" smtClean="0">
                <a:latin typeface="Cambria" panose="02040503050406030204" pitchFamily="18" charset="0"/>
              </a:rPr>
              <a:t>8</a:t>
            </a:r>
            <a:endParaRPr lang="en-MY" altLang="en-US" sz="675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935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nfarahin.ali\Downloads\logo naps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8951" y="141516"/>
            <a:ext cx="890672" cy="696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3"/>
          <p:cNvSpPr txBox="1">
            <a:spLocks/>
          </p:cNvSpPr>
          <p:nvPr/>
        </p:nvSpPr>
        <p:spPr>
          <a:xfrm>
            <a:off x="3958252" y="176334"/>
            <a:ext cx="6247180" cy="77672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  <a:defRPr/>
            </a:pPr>
            <a:r>
              <a:rPr lang="en-US" altLang="en-US" sz="3200" b="1" dirty="0" err="1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FMAS</a:t>
            </a:r>
            <a:r>
              <a:rPr lang="en-US" altLang="en-US" sz="32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allenges</a:t>
            </a:r>
            <a:endParaRPr lang="en-US" altLang="en-US" sz="3200" b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-35529" y="1083732"/>
            <a:ext cx="9179529" cy="4106045"/>
            <a:chOff x="65089" y="431320"/>
            <a:chExt cx="12967827" cy="6035166"/>
          </a:xfrm>
        </p:grpSpPr>
        <p:sp>
          <p:nvSpPr>
            <p:cNvPr id="57" name="Oval 17"/>
            <p:cNvSpPr>
              <a:spLocks noChangeArrowheads="1"/>
            </p:cNvSpPr>
            <p:nvPr/>
          </p:nvSpPr>
          <p:spPr bwMode="auto">
            <a:xfrm>
              <a:off x="3617913" y="2276475"/>
              <a:ext cx="600075" cy="635000"/>
            </a:xfrm>
            <a:prstGeom prst="ellipse">
              <a:avLst/>
            </a:prstGeom>
            <a:solidFill>
              <a:srgbClr val="FF91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en-US" sz="1800"/>
            </a:p>
          </p:txBody>
        </p:sp>
        <p:sp>
          <p:nvSpPr>
            <p:cNvPr id="70" name="Freeform 30"/>
            <p:cNvSpPr>
              <a:spLocks/>
            </p:cNvSpPr>
            <p:nvPr/>
          </p:nvSpPr>
          <p:spPr bwMode="auto">
            <a:xfrm>
              <a:off x="4021138" y="1622425"/>
              <a:ext cx="360362" cy="628650"/>
            </a:xfrm>
            <a:custGeom>
              <a:avLst/>
              <a:gdLst>
                <a:gd name="T0" fmla="*/ 2147483646 w 106"/>
                <a:gd name="T1" fmla="*/ 2147483646 h 176"/>
                <a:gd name="T2" fmla="*/ 2147483646 w 106"/>
                <a:gd name="T3" fmla="*/ 2147483646 h 176"/>
                <a:gd name="T4" fmla="*/ 2147483646 w 106"/>
                <a:gd name="T5" fmla="*/ 2147483646 h 176"/>
                <a:gd name="T6" fmla="*/ 2147483646 w 106"/>
                <a:gd name="T7" fmla="*/ 2147483646 h 176"/>
                <a:gd name="T8" fmla="*/ 2147483646 w 106"/>
                <a:gd name="T9" fmla="*/ 2147483646 h 176"/>
                <a:gd name="T10" fmla="*/ 2147483646 w 106"/>
                <a:gd name="T11" fmla="*/ 2147483646 h 176"/>
                <a:gd name="T12" fmla="*/ 2147483646 w 106"/>
                <a:gd name="T13" fmla="*/ 2147483646 h 176"/>
                <a:gd name="T14" fmla="*/ 2147483646 w 106"/>
                <a:gd name="T15" fmla="*/ 2147483646 h 17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6" h="176">
                  <a:moveTo>
                    <a:pt x="5" y="176"/>
                  </a:moveTo>
                  <a:cubicBezTo>
                    <a:pt x="4" y="176"/>
                    <a:pt x="3" y="176"/>
                    <a:pt x="3" y="175"/>
                  </a:cubicBezTo>
                  <a:cubicBezTo>
                    <a:pt x="1" y="174"/>
                    <a:pt x="0" y="172"/>
                    <a:pt x="1" y="169"/>
                  </a:cubicBezTo>
                  <a:cubicBezTo>
                    <a:pt x="26" y="110"/>
                    <a:pt x="59" y="54"/>
                    <a:pt x="98" y="2"/>
                  </a:cubicBezTo>
                  <a:cubicBezTo>
                    <a:pt x="99" y="0"/>
                    <a:pt x="102" y="0"/>
                    <a:pt x="104" y="1"/>
                  </a:cubicBezTo>
                  <a:cubicBezTo>
                    <a:pt x="106" y="2"/>
                    <a:pt x="106" y="5"/>
                    <a:pt x="105" y="7"/>
                  </a:cubicBezTo>
                  <a:cubicBezTo>
                    <a:pt x="66" y="59"/>
                    <a:pt x="34" y="114"/>
                    <a:pt x="9" y="173"/>
                  </a:cubicBezTo>
                  <a:cubicBezTo>
                    <a:pt x="8" y="175"/>
                    <a:pt x="6" y="176"/>
                    <a:pt x="5" y="17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pic>
          <p:nvPicPr>
            <p:cNvPr id="52" name="Picture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7988" y="1083311"/>
              <a:ext cx="4830762" cy="4635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" name="TextBox 93"/>
            <p:cNvSpPr txBox="1">
              <a:spLocks noChangeArrowheads="1"/>
            </p:cNvSpPr>
            <p:nvPr/>
          </p:nvSpPr>
          <p:spPr bwMode="auto">
            <a:xfrm>
              <a:off x="9626934" y="1731373"/>
              <a:ext cx="3172800" cy="9439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80975" indent="-177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2" eaLnBrk="1" hangingPunct="1"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ystem slow performance</a:t>
              </a:r>
            </a:p>
            <a:p>
              <a:pPr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 management</a:t>
              </a:r>
            </a:p>
            <a:p>
              <a:pPr lvl="2" eaLnBrk="1" hangingPunct="1"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er familiarisation</a:t>
              </a:r>
            </a:p>
          </p:txBody>
        </p:sp>
        <p:sp>
          <p:nvSpPr>
            <p:cNvPr id="54" name="TextBox 93"/>
            <p:cNvSpPr txBox="1">
              <a:spLocks noChangeArrowheads="1"/>
            </p:cNvSpPr>
            <p:nvPr/>
          </p:nvSpPr>
          <p:spPr bwMode="auto">
            <a:xfrm>
              <a:off x="474348" y="719359"/>
              <a:ext cx="4048280" cy="12666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180975" lvl="2" indent="-177800" eaLnBrk="1" fontAlgn="auto" hangingPunct="1">
                <a:spcBef>
                  <a:spcPts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GB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ntralised Server &amp; Database</a:t>
              </a:r>
            </a:p>
            <a:p>
              <a:pPr marL="180975" lvl="2" indent="-177800" eaLnBrk="1" fontAlgn="auto" hangingPunct="1">
                <a:spcBef>
                  <a:spcPts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GB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ual Transaction &amp; Reporting</a:t>
              </a:r>
            </a:p>
            <a:p>
              <a:pPr marL="180975" lvl="2" indent="-177800" eaLnBrk="1" fontAlgn="auto" hangingPunct="1">
                <a:spcBef>
                  <a:spcPts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GB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aptation Of Accrual Accounting</a:t>
              </a:r>
              <a:endParaRPr lang="en-GB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8925" lvl="2" indent="-285750" eaLnBrk="1" fontAlgn="auto" hangingPunct="1">
                <a:spcBef>
                  <a:spcPts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  <a:defRPr/>
              </a:pPr>
              <a:endParaRPr lang="en-GB" sz="1400" dirty="0">
                <a:solidFill>
                  <a:srgbClr val="002060"/>
                </a:solidFill>
              </a:endParaRPr>
            </a:p>
          </p:txBody>
        </p:sp>
        <p:sp>
          <p:nvSpPr>
            <p:cNvPr id="55" name="Oval 15"/>
            <p:cNvSpPr>
              <a:spLocks noChangeArrowheads="1"/>
            </p:cNvSpPr>
            <p:nvPr/>
          </p:nvSpPr>
          <p:spPr bwMode="auto">
            <a:xfrm>
              <a:off x="4271963" y="5141913"/>
              <a:ext cx="601662" cy="636587"/>
            </a:xfrm>
            <a:prstGeom prst="ellipse">
              <a:avLst/>
            </a:prstGeom>
            <a:solidFill>
              <a:srgbClr val="8C10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en-US" sz="1800"/>
            </a:p>
          </p:txBody>
        </p:sp>
        <p:sp>
          <p:nvSpPr>
            <p:cNvPr id="56" name="Oval 16"/>
            <p:cNvSpPr>
              <a:spLocks noChangeArrowheads="1"/>
            </p:cNvSpPr>
            <p:nvPr/>
          </p:nvSpPr>
          <p:spPr bwMode="auto">
            <a:xfrm>
              <a:off x="3617913" y="3876675"/>
              <a:ext cx="600075" cy="639763"/>
            </a:xfrm>
            <a:prstGeom prst="ellipse">
              <a:avLst/>
            </a:prstGeom>
            <a:solidFill>
              <a:srgbClr val="E249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en-US" sz="1800"/>
            </a:p>
          </p:txBody>
        </p:sp>
        <p:sp>
          <p:nvSpPr>
            <p:cNvPr id="58" name="Oval 18"/>
            <p:cNvSpPr>
              <a:spLocks noChangeArrowheads="1"/>
            </p:cNvSpPr>
            <p:nvPr/>
          </p:nvSpPr>
          <p:spPr bwMode="auto">
            <a:xfrm>
              <a:off x="4313238" y="1014413"/>
              <a:ext cx="600075" cy="635000"/>
            </a:xfrm>
            <a:prstGeom prst="ellipse">
              <a:avLst/>
            </a:prstGeom>
            <a:solidFill>
              <a:srgbClr val="FFC8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en-US" sz="1800"/>
            </a:p>
          </p:txBody>
        </p:sp>
        <p:sp>
          <p:nvSpPr>
            <p:cNvPr id="59" name="Oval 19"/>
            <p:cNvSpPr>
              <a:spLocks noChangeArrowheads="1"/>
            </p:cNvSpPr>
            <p:nvPr/>
          </p:nvSpPr>
          <p:spPr bwMode="auto">
            <a:xfrm>
              <a:off x="9056688" y="3090863"/>
              <a:ext cx="604837" cy="636587"/>
            </a:xfrm>
            <a:prstGeom prst="ellipse">
              <a:avLst/>
            </a:prstGeom>
            <a:solidFill>
              <a:srgbClr val="34B2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en-US" sz="1800"/>
            </a:p>
          </p:txBody>
        </p:sp>
        <p:sp>
          <p:nvSpPr>
            <p:cNvPr id="60" name="Oval 20"/>
            <p:cNvSpPr>
              <a:spLocks noChangeArrowheads="1"/>
            </p:cNvSpPr>
            <p:nvPr/>
          </p:nvSpPr>
          <p:spPr bwMode="auto">
            <a:xfrm>
              <a:off x="8675688" y="4556125"/>
              <a:ext cx="601662" cy="636588"/>
            </a:xfrm>
            <a:prstGeom prst="ellipse">
              <a:avLst/>
            </a:prstGeom>
            <a:solidFill>
              <a:srgbClr val="0652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en-US" sz="1800"/>
            </a:p>
          </p:txBody>
        </p:sp>
        <p:sp>
          <p:nvSpPr>
            <p:cNvPr id="61" name="Oval 21"/>
            <p:cNvSpPr>
              <a:spLocks noChangeArrowheads="1"/>
            </p:cNvSpPr>
            <p:nvPr/>
          </p:nvSpPr>
          <p:spPr bwMode="auto">
            <a:xfrm>
              <a:off x="8675688" y="1585913"/>
              <a:ext cx="601662" cy="635000"/>
            </a:xfrm>
            <a:prstGeom prst="ellipse">
              <a:avLst/>
            </a:prstGeom>
            <a:solidFill>
              <a:srgbClr val="64D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en-US" sz="1800"/>
            </a:p>
          </p:txBody>
        </p:sp>
        <p:sp>
          <p:nvSpPr>
            <p:cNvPr id="62" name="Rectangle 22"/>
            <p:cNvSpPr>
              <a:spLocks noChangeArrowheads="1"/>
            </p:cNvSpPr>
            <p:nvPr/>
          </p:nvSpPr>
          <p:spPr bwMode="auto">
            <a:xfrm>
              <a:off x="467804" y="431320"/>
              <a:ext cx="3652713" cy="316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400" b="1" dirty="0">
                  <a:solidFill>
                    <a:srgbClr val="FFC85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 SYSTEM REQUIREMENT</a:t>
              </a:r>
              <a:endParaRPr lang="en-US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23"/>
            <p:cNvSpPr>
              <a:spLocks noChangeArrowheads="1"/>
            </p:cNvSpPr>
            <p:nvPr/>
          </p:nvSpPr>
          <p:spPr bwMode="auto">
            <a:xfrm>
              <a:off x="979635" y="5092614"/>
              <a:ext cx="4092575" cy="316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400" b="1" dirty="0">
                  <a:solidFill>
                    <a:srgbClr val="8C103D"/>
                  </a:solidFill>
                  <a:latin typeface="Open Sans Semibold"/>
                </a:rPr>
                <a:t>NEW REGULATIONS</a:t>
              </a:r>
              <a:endParaRPr lang="en-US" altLang="en-US" sz="1400" dirty="0"/>
            </a:p>
          </p:txBody>
        </p:sp>
        <p:sp>
          <p:nvSpPr>
            <p:cNvPr id="64" name="Rectangle 24"/>
            <p:cNvSpPr>
              <a:spLocks noChangeArrowheads="1"/>
            </p:cNvSpPr>
            <p:nvPr/>
          </p:nvSpPr>
          <p:spPr bwMode="auto">
            <a:xfrm>
              <a:off x="168934" y="3773764"/>
              <a:ext cx="3088841" cy="316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400" b="1" dirty="0">
                  <a:solidFill>
                    <a:srgbClr val="E2495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JECT GOVERNANCE</a:t>
              </a:r>
            </a:p>
          </p:txBody>
        </p:sp>
        <p:sp>
          <p:nvSpPr>
            <p:cNvPr id="66" name="Rectangle 26"/>
            <p:cNvSpPr>
              <a:spLocks noChangeArrowheads="1"/>
            </p:cNvSpPr>
            <p:nvPr/>
          </p:nvSpPr>
          <p:spPr bwMode="auto">
            <a:xfrm>
              <a:off x="9711874" y="2918556"/>
              <a:ext cx="2624610" cy="316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400" b="1" dirty="0">
                  <a:solidFill>
                    <a:srgbClr val="34B2E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UMAN RESOURCES</a:t>
              </a:r>
              <a:endParaRPr lang="en-US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Rectangle 27"/>
            <p:cNvSpPr>
              <a:spLocks noChangeArrowheads="1"/>
            </p:cNvSpPr>
            <p:nvPr/>
          </p:nvSpPr>
          <p:spPr bwMode="auto">
            <a:xfrm>
              <a:off x="9777412" y="4567720"/>
              <a:ext cx="2215541" cy="316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400" b="1" dirty="0" smtClean="0">
                  <a:solidFill>
                    <a:srgbClr val="06528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CUMENTATION</a:t>
              </a:r>
              <a:endParaRPr lang="en-US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angle 28"/>
            <p:cNvSpPr>
              <a:spLocks noChangeArrowheads="1"/>
            </p:cNvSpPr>
            <p:nvPr/>
          </p:nvSpPr>
          <p:spPr bwMode="auto">
            <a:xfrm>
              <a:off x="9571204" y="931678"/>
              <a:ext cx="3461712" cy="949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400" b="1" dirty="0">
                  <a:solidFill>
                    <a:srgbClr val="64D1D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YSTEM 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400" b="1" dirty="0">
                  <a:solidFill>
                    <a:srgbClr val="64D1D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LEMENTATION </a:t>
              </a: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en-US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auto">
            <a:xfrm>
              <a:off x="3797300" y="2959100"/>
              <a:ext cx="58738" cy="868363"/>
            </a:xfrm>
            <a:custGeom>
              <a:avLst/>
              <a:gdLst>
                <a:gd name="T0" fmla="*/ 2147483646 w 18"/>
                <a:gd name="T1" fmla="*/ 2147483646 h 243"/>
                <a:gd name="T2" fmla="*/ 2147483646 w 18"/>
                <a:gd name="T3" fmla="*/ 2147483646 h 243"/>
                <a:gd name="T4" fmla="*/ 0 w 18"/>
                <a:gd name="T5" fmla="*/ 2147483646 h 243"/>
                <a:gd name="T6" fmla="*/ 2147483646 w 18"/>
                <a:gd name="T7" fmla="*/ 2147483646 h 243"/>
                <a:gd name="T8" fmla="*/ 2147483646 w 18"/>
                <a:gd name="T9" fmla="*/ 2147483646 h 243"/>
                <a:gd name="T10" fmla="*/ 2147483646 w 18"/>
                <a:gd name="T11" fmla="*/ 2147483646 h 243"/>
                <a:gd name="T12" fmla="*/ 2147483646 w 18"/>
                <a:gd name="T13" fmla="*/ 2147483646 h 243"/>
                <a:gd name="T14" fmla="*/ 2147483646 w 18"/>
                <a:gd name="T15" fmla="*/ 2147483646 h 243"/>
                <a:gd name="T16" fmla="*/ 2147483646 w 18"/>
                <a:gd name="T17" fmla="*/ 2147483646 h 243"/>
                <a:gd name="T18" fmla="*/ 2147483646 w 18"/>
                <a:gd name="T19" fmla="*/ 2147483646 h 2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8" h="243">
                  <a:moveTo>
                    <a:pt x="13" y="243"/>
                  </a:moveTo>
                  <a:cubicBezTo>
                    <a:pt x="11" y="243"/>
                    <a:pt x="9" y="242"/>
                    <a:pt x="9" y="239"/>
                  </a:cubicBezTo>
                  <a:cubicBezTo>
                    <a:pt x="3" y="201"/>
                    <a:pt x="0" y="161"/>
                    <a:pt x="0" y="122"/>
                  </a:cubicBezTo>
                  <a:cubicBezTo>
                    <a:pt x="0" y="83"/>
                    <a:pt x="3" y="43"/>
                    <a:pt x="9" y="5"/>
                  </a:cubicBezTo>
                  <a:cubicBezTo>
                    <a:pt x="9" y="2"/>
                    <a:pt x="11" y="0"/>
                    <a:pt x="14" y="1"/>
                  </a:cubicBezTo>
                  <a:cubicBezTo>
                    <a:pt x="16" y="1"/>
                    <a:pt x="18" y="3"/>
                    <a:pt x="17" y="6"/>
                  </a:cubicBezTo>
                  <a:cubicBezTo>
                    <a:pt x="12" y="44"/>
                    <a:pt x="9" y="83"/>
                    <a:pt x="9" y="122"/>
                  </a:cubicBezTo>
                  <a:cubicBezTo>
                    <a:pt x="9" y="161"/>
                    <a:pt x="12" y="200"/>
                    <a:pt x="17" y="238"/>
                  </a:cubicBezTo>
                  <a:cubicBezTo>
                    <a:pt x="18" y="241"/>
                    <a:pt x="16" y="243"/>
                    <a:pt x="14" y="243"/>
                  </a:cubicBezTo>
                  <a:cubicBezTo>
                    <a:pt x="13" y="243"/>
                    <a:pt x="13" y="243"/>
                    <a:pt x="13" y="243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31"/>
            <p:cNvSpPr>
              <a:spLocks/>
            </p:cNvSpPr>
            <p:nvPr/>
          </p:nvSpPr>
          <p:spPr bwMode="auto">
            <a:xfrm>
              <a:off x="4019550" y="4535488"/>
              <a:ext cx="357188" cy="628650"/>
            </a:xfrm>
            <a:custGeom>
              <a:avLst/>
              <a:gdLst>
                <a:gd name="T0" fmla="*/ 2147483646 w 106"/>
                <a:gd name="T1" fmla="*/ 2147483646 h 176"/>
                <a:gd name="T2" fmla="*/ 2147483646 w 106"/>
                <a:gd name="T3" fmla="*/ 2147483646 h 176"/>
                <a:gd name="T4" fmla="*/ 0 w 106"/>
                <a:gd name="T5" fmla="*/ 2147483646 h 176"/>
                <a:gd name="T6" fmla="*/ 2147483646 w 106"/>
                <a:gd name="T7" fmla="*/ 0 h 176"/>
                <a:gd name="T8" fmla="*/ 2147483646 w 106"/>
                <a:gd name="T9" fmla="*/ 2147483646 h 176"/>
                <a:gd name="T10" fmla="*/ 2147483646 w 106"/>
                <a:gd name="T11" fmla="*/ 2147483646 h 176"/>
                <a:gd name="T12" fmla="*/ 2147483646 w 106"/>
                <a:gd name="T13" fmla="*/ 2147483646 h 176"/>
                <a:gd name="T14" fmla="*/ 2147483646 w 106"/>
                <a:gd name="T15" fmla="*/ 2147483646 h 17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6" h="176">
                  <a:moveTo>
                    <a:pt x="101" y="176"/>
                  </a:moveTo>
                  <a:cubicBezTo>
                    <a:pt x="100" y="176"/>
                    <a:pt x="98" y="175"/>
                    <a:pt x="98" y="174"/>
                  </a:cubicBezTo>
                  <a:cubicBezTo>
                    <a:pt x="59" y="122"/>
                    <a:pt x="26" y="66"/>
                    <a:pt x="0" y="6"/>
                  </a:cubicBezTo>
                  <a:cubicBezTo>
                    <a:pt x="0" y="4"/>
                    <a:pt x="1" y="1"/>
                    <a:pt x="3" y="0"/>
                  </a:cubicBezTo>
                  <a:cubicBezTo>
                    <a:pt x="5" y="0"/>
                    <a:pt x="8" y="1"/>
                    <a:pt x="9" y="3"/>
                  </a:cubicBezTo>
                  <a:cubicBezTo>
                    <a:pt x="34" y="61"/>
                    <a:pt x="66" y="117"/>
                    <a:pt x="105" y="169"/>
                  </a:cubicBezTo>
                  <a:cubicBezTo>
                    <a:pt x="106" y="171"/>
                    <a:pt x="106" y="173"/>
                    <a:pt x="104" y="175"/>
                  </a:cubicBezTo>
                  <a:cubicBezTo>
                    <a:pt x="103" y="175"/>
                    <a:pt x="102" y="176"/>
                    <a:pt x="101" y="176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32"/>
            <p:cNvSpPr>
              <a:spLocks/>
            </p:cNvSpPr>
            <p:nvPr/>
          </p:nvSpPr>
          <p:spPr bwMode="auto">
            <a:xfrm>
              <a:off x="9131300" y="2254250"/>
              <a:ext cx="215900" cy="758825"/>
            </a:xfrm>
            <a:custGeom>
              <a:avLst/>
              <a:gdLst>
                <a:gd name="T0" fmla="*/ 2147483646 w 64"/>
                <a:gd name="T1" fmla="*/ 2147483646 h 212"/>
                <a:gd name="T2" fmla="*/ 2147483646 w 64"/>
                <a:gd name="T3" fmla="*/ 2147483646 h 212"/>
                <a:gd name="T4" fmla="*/ 2147483646 w 64"/>
                <a:gd name="T5" fmla="*/ 2147483646 h 212"/>
                <a:gd name="T6" fmla="*/ 2147483646 w 64"/>
                <a:gd name="T7" fmla="*/ 2147483646 h 212"/>
                <a:gd name="T8" fmla="*/ 2147483646 w 64"/>
                <a:gd name="T9" fmla="*/ 2147483646 h 212"/>
                <a:gd name="T10" fmla="*/ 2147483646 w 64"/>
                <a:gd name="T11" fmla="*/ 2147483646 h 212"/>
                <a:gd name="T12" fmla="*/ 2147483646 w 64"/>
                <a:gd name="T13" fmla="*/ 2147483646 h 212"/>
                <a:gd name="T14" fmla="*/ 2147483646 w 64"/>
                <a:gd name="T15" fmla="*/ 2147483646 h 2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212">
                  <a:moveTo>
                    <a:pt x="60" y="212"/>
                  </a:moveTo>
                  <a:cubicBezTo>
                    <a:pt x="58" y="212"/>
                    <a:pt x="56" y="211"/>
                    <a:pt x="55" y="209"/>
                  </a:cubicBezTo>
                  <a:cubicBezTo>
                    <a:pt x="46" y="139"/>
                    <a:pt x="28" y="71"/>
                    <a:pt x="1" y="7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6" y="0"/>
                    <a:pt x="8" y="1"/>
                    <a:pt x="9" y="3"/>
                  </a:cubicBezTo>
                  <a:cubicBezTo>
                    <a:pt x="36" y="69"/>
                    <a:pt x="55" y="137"/>
                    <a:pt x="64" y="207"/>
                  </a:cubicBezTo>
                  <a:cubicBezTo>
                    <a:pt x="64" y="210"/>
                    <a:pt x="63" y="212"/>
                    <a:pt x="60" y="212"/>
                  </a:cubicBezTo>
                  <a:cubicBezTo>
                    <a:pt x="60" y="212"/>
                    <a:pt x="60" y="212"/>
                    <a:pt x="60" y="21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auto">
            <a:xfrm>
              <a:off x="9131300" y="3787775"/>
              <a:ext cx="215900" cy="758825"/>
            </a:xfrm>
            <a:custGeom>
              <a:avLst/>
              <a:gdLst>
                <a:gd name="T0" fmla="*/ 2147483646 w 64"/>
                <a:gd name="T1" fmla="*/ 2147483646 h 212"/>
                <a:gd name="T2" fmla="*/ 2147483646 w 64"/>
                <a:gd name="T3" fmla="*/ 2147483646 h 212"/>
                <a:gd name="T4" fmla="*/ 2147483646 w 64"/>
                <a:gd name="T5" fmla="*/ 2147483646 h 212"/>
                <a:gd name="T6" fmla="*/ 2147483646 w 64"/>
                <a:gd name="T7" fmla="*/ 2147483646 h 212"/>
                <a:gd name="T8" fmla="*/ 2147483646 w 64"/>
                <a:gd name="T9" fmla="*/ 0 h 212"/>
                <a:gd name="T10" fmla="*/ 2147483646 w 64"/>
                <a:gd name="T11" fmla="*/ 2147483646 h 212"/>
                <a:gd name="T12" fmla="*/ 2147483646 w 64"/>
                <a:gd name="T13" fmla="*/ 2147483646 h 212"/>
                <a:gd name="T14" fmla="*/ 2147483646 w 64"/>
                <a:gd name="T15" fmla="*/ 2147483646 h 2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212">
                  <a:moveTo>
                    <a:pt x="5" y="212"/>
                  </a:moveTo>
                  <a:cubicBezTo>
                    <a:pt x="4" y="212"/>
                    <a:pt x="4" y="212"/>
                    <a:pt x="3" y="211"/>
                  </a:cubicBezTo>
                  <a:cubicBezTo>
                    <a:pt x="1" y="210"/>
                    <a:pt x="0" y="208"/>
                    <a:pt x="1" y="206"/>
                  </a:cubicBezTo>
                  <a:cubicBezTo>
                    <a:pt x="28" y="141"/>
                    <a:pt x="46" y="73"/>
                    <a:pt x="55" y="4"/>
                  </a:cubicBezTo>
                  <a:cubicBezTo>
                    <a:pt x="56" y="1"/>
                    <a:pt x="58" y="0"/>
                    <a:pt x="60" y="0"/>
                  </a:cubicBezTo>
                  <a:cubicBezTo>
                    <a:pt x="63" y="0"/>
                    <a:pt x="64" y="3"/>
                    <a:pt x="64" y="5"/>
                  </a:cubicBezTo>
                  <a:cubicBezTo>
                    <a:pt x="55" y="75"/>
                    <a:pt x="36" y="144"/>
                    <a:pt x="9" y="209"/>
                  </a:cubicBezTo>
                  <a:cubicBezTo>
                    <a:pt x="8" y="211"/>
                    <a:pt x="7" y="212"/>
                    <a:pt x="5" y="212"/>
                  </a:cubicBezTo>
                  <a:close/>
                </a:path>
              </a:pathLst>
            </a:custGeom>
            <a:solidFill>
              <a:srgbClr val="3A3A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34"/>
            <p:cNvSpPr>
              <a:spLocks noEditPoints="1"/>
            </p:cNvSpPr>
            <p:nvPr/>
          </p:nvSpPr>
          <p:spPr bwMode="auto">
            <a:xfrm>
              <a:off x="5646738" y="4548188"/>
              <a:ext cx="584200" cy="601662"/>
            </a:xfrm>
            <a:custGeom>
              <a:avLst/>
              <a:gdLst>
                <a:gd name="T0" fmla="*/ 2147483646 w 173"/>
                <a:gd name="T1" fmla="*/ 2147483646 h 168"/>
                <a:gd name="T2" fmla="*/ 2147483646 w 173"/>
                <a:gd name="T3" fmla="*/ 2147483646 h 168"/>
                <a:gd name="T4" fmla="*/ 2147483646 w 173"/>
                <a:gd name="T5" fmla="*/ 2147483646 h 168"/>
                <a:gd name="T6" fmla="*/ 2147483646 w 173"/>
                <a:gd name="T7" fmla="*/ 2147483646 h 168"/>
                <a:gd name="T8" fmla="*/ 2147483646 w 173"/>
                <a:gd name="T9" fmla="*/ 2147483646 h 168"/>
                <a:gd name="T10" fmla="*/ 2147483646 w 173"/>
                <a:gd name="T11" fmla="*/ 2147483646 h 168"/>
                <a:gd name="T12" fmla="*/ 2147483646 w 173"/>
                <a:gd name="T13" fmla="*/ 2147483646 h 168"/>
                <a:gd name="T14" fmla="*/ 2147483646 w 173"/>
                <a:gd name="T15" fmla="*/ 2147483646 h 168"/>
                <a:gd name="T16" fmla="*/ 2147483646 w 173"/>
                <a:gd name="T17" fmla="*/ 2147483646 h 168"/>
                <a:gd name="T18" fmla="*/ 2147483646 w 173"/>
                <a:gd name="T19" fmla="*/ 2147483646 h 168"/>
                <a:gd name="T20" fmla="*/ 2147483646 w 173"/>
                <a:gd name="T21" fmla="*/ 2147483646 h 168"/>
                <a:gd name="T22" fmla="*/ 2147483646 w 173"/>
                <a:gd name="T23" fmla="*/ 2147483646 h 168"/>
                <a:gd name="T24" fmla="*/ 2147483646 w 173"/>
                <a:gd name="T25" fmla="*/ 2147483646 h 168"/>
                <a:gd name="T26" fmla="*/ 2147483646 w 173"/>
                <a:gd name="T27" fmla="*/ 2147483646 h 168"/>
                <a:gd name="T28" fmla="*/ 2147483646 w 173"/>
                <a:gd name="T29" fmla="*/ 2147483646 h 168"/>
                <a:gd name="T30" fmla="*/ 2147483646 w 173"/>
                <a:gd name="T31" fmla="*/ 2147483646 h 168"/>
                <a:gd name="T32" fmla="*/ 2147483646 w 173"/>
                <a:gd name="T33" fmla="*/ 2147483646 h 168"/>
                <a:gd name="T34" fmla="*/ 2147483646 w 173"/>
                <a:gd name="T35" fmla="*/ 2147483646 h 168"/>
                <a:gd name="T36" fmla="*/ 2147483646 w 173"/>
                <a:gd name="T37" fmla="*/ 2147483646 h 168"/>
                <a:gd name="T38" fmla="*/ 2147483646 w 173"/>
                <a:gd name="T39" fmla="*/ 2147483646 h 168"/>
                <a:gd name="T40" fmla="*/ 2147483646 w 173"/>
                <a:gd name="T41" fmla="*/ 0 h 168"/>
                <a:gd name="T42" fmla="*/ 2147483646 w 173"/>
                <a:gd name="T43" fmla="*/ 2147483646 h 168"/>
                <a:gd name="T44" fmla="*/ 2147483646 w 173"/>
                <a:gd name="T45" fmla="*/ 2147483646 h 168"/>
                <a:gd name="T46" fmla="*/ 2147483646 w 173"/>
                <a:gd name="T47" fmla="*/ 2147483646 h 168"/>
                <a:gd name="T48" fmla="*/ 2147483646 w 173"/>
                <a:gd name="T49" fmla="*/ 2147483646 h 168"/>
                <a:gd name="T50" fmla="*/ 2147483646 w 173"/>
                <a:gd name="T51" fmla="*/ 2147483646 h 168"/>
                <a:gd name="T52" fmla="*/ 2147483646 w 173"/>
                <a:gd name="T53" fmla="*/ 0 h 168"/>
                <a:gd name="T54" fmla="*/ 2147483646 w 173"/>
                <a:gd name="T55" fmla="*/ 0 h 168"/>
                <a:gd name="T56" fmla="*/ 2147483646 w 173"/>
                <a:gd name="T57" fmla="*/ 2147483646 h 168"/>
                <a:gd name="T58" fmla="*/ 2147483646 w 173"/>
                <a:gd name="T59" fmla="*/ 2147483646 h 168"/>
                <a:gd name="T60" fmla="*/ 2147483646 w 173"/>
                <a:gd name="T61" fmla="*/ 2147483646 h 168"/>
                <a:gd name="T62" fmla="*/ 2147483646 w 173"/>
                <a:gd name="T63" fmla="*/ 2147483646 h 168"/>
                <a:gd name="T64" fmla="*/ 2147483646 w 173"/>
                <a:gd name="T65" fmla="*/ 2147483646 h 168"/>
                <a:gd name="T66" fmla="*/ 2147483646 w 173"/>
                <a:gd name="T67" fmla="*/ 2147483646 h 168"/>
                <a:gd name="T68" fmla="*/ 2147483646 w 173"/>
                <a:gd name="T69" fmla="*/ 2147483646 h 168"/>
                <a:gd name="T70" fmla="*/ 2147483646 w 173"/>
                <a:gd name="T71" fmla="*/ 2147483646 h 168"/>
                <a:gd name="T72" fmla="*/ 2147483646 w 173"/>
                <a:gd name="T73" fmla="*/ 2147483646 h 168"/>
                <a:gd name="T74" fmla="*/ 2147483646 w 173"/>
                <a:gd name="T75" fmla="*/ 2147483646 h 168"/>
                <a:gd name="T76" fmla="*/ 2147483646 w 173"/>
                <a:gd name="T77" fmla="*/ 2147483646 h 16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73" h="168">
                  <a:moveTo>
                    <a:pt x="103" y="8"/>
                  </a:moveTo>
                  <a:cubicBezTo>
                    <a:pt x="104" y="8"/>
                    <a:pt x="104" y="8"/>
                    <a:pt x="104" y="8"/>
                  </a:cubicBezTo>
                  <a:cubicBezTo>
                    <a:pt x="135" y="12"/>
                    <a:pt x="160" y="37"/>
                    <a:pt x="165" y="69"/>
                  </a:cubicBezTo>
                  <a:cubicBezTo>
                    <a:pt x="165" y="69"/>
                    <a:pt x="165" y="69"/>
                    <a:pt x="164" y="70"/>
                  </a:cubicBezTo>
                  <a:cubicBezTo>
                    <a:pt x="164" y="70"/>
                    <a:pt x="164" y="70"/>
                    <a:pt x="163" y="70"/>
                  </a:cubicBezTo>
                  <a:cubicBezTo>
                    <a:pt x="102" y="70"/>
                    <a:pt x="102" y="70"/>
                    <a:pt x="102" y="70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8"/>
                    <a:pt x="103" y="8"/>
                    <a:pt x="103" y="8"/>
                  </a:cubicBezTo>
                  <a:moveTo>
                    <a:pt x="74" y="19"/>
                  </a:moveTo>
                  <a:cubicBezTo>
                    <a:pt x="75" y="19"/>
                    <a:pt x="75" y="19"/>
                    <a:pt x="75" y="20"/>
                  </a:cubicBezTo>
                  <a:cubicBezTo>
                    <a:pt x="75" y="82"/>
                    <a:pt x="75" y="82"/>
                    <a:pt x="75" y="82"/>
                  </a:cubicBezTo>
                  <a:cubicBezTo>
                    <a:pt x="75" y="90"/>
                    <a:pt x="82" y="97"/>
                    <a:pt x="90" y="97"/>
                  </a:cubicBezTo>
                  <a:cubicBezTo>
                    <a:pt x="152" y="97"/>
                    <a:pt x="152" y="97"/>
                    <a:pt x="152" y="97"/>
                  </a:cubicBezTo>
                  <a:cubicBezTo>
                    <a:pt x="152" y="97"/>
                    <a:pt x="153" y="97"/>
                    <a:pt x="153" y="97"/>
                  </a:cubicBezTo>
                  <a:cubicBezTo>
                    <a:pt x="153" y="98"/>
                    <a:pt x="154" y="98"/>
                    <a:pt x="153" y="99"/>
                  </a:cubicBezTo>
                  <a:cubicBezTo>
                    <a:pt x="149" y="134"/>
                    <a:pt x="118" y="160"/>
                    <a:pt x="83" y="160"/>
                  </a:cubicBezTo>
                  <a:cubicBezTo>
                    <a:pt x="80" y="160"/>
                    <a:pt x="78" y="160"/>
                    <a:pt x="75" y="160"/>
                  </a:cubicBezTo>
                  <a:cubicBezTo>
                    <a:pt x="42" y="156"/>
                    <a:pt x="16" y="130"/>
                    <a:pt x="13" y="97"/>
                  </a:cubicBezTo>
                  <a:cubicBezTo>
                    <a:pt x="8" y="59"/>
                    <a:pt x="35" y="24"/>
                    <a:pt x="73" y="19"/>
                  </a:cubicBezTo>
                  <a:cubicBezTo>
                    <a:pt x="73" y="19"/>
                    <a:pt x="74" y="19"/>
                    <a:pt x="74" y="19"/>
                  </a:cubicBezTo>
                  <a:moveTo>
                    <a:pt x="103" y="0"/>
                  </a:moveTo>
                  <a:cubicBezTo>
                    <a:pt x="98" y="0"/>
                    <a:pt x="94" y="4"/>
                    <a:pt x="94" y="9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6"/>
                    <a:pt x="96" y="78"/>
                    <a:pt x="98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9" y="78"/>
                    <a:pt x="173" y="73"/>
                    <a:pt x="172" y="68"/>
                  </a:cubicBezTo>
                  <a:cubicBezTo>
                    <a:pt x="168" y="32"/>
                    <a:pt x="140" y="4"/>
                    <a:pt x="105" y="0"/>
                  </a:cubicBezTo>
                  <a:cubicBezTo>
                    <a:pt x="104" y="0"/>
                    <a:pt x="104" y="0"/>
                    <a:pt x="103" y="0"/>
                  </a:cubicBezTo>
                  <a:close/>
                  <a:moveTo>
                    <a:pt x="74" y="11"/>
                  </a:moveTo>
                  <a:cubicBezTo>
                    <a:pt x="73" y="11"/>
                    <a:pt x="73" y="11"/>
                    <a:pt x="72" y="11"/>
                  </a:cubicBezTo>
                  <a:cubicBezTo>
                    <a:pt x="31" y="17"/>
                    <a:pt x="0" y="54"/>
                    <a:pt x="5" y="98"/>
                  </a:cubicBezTo>
                  <a:cubicBezTo>
                    <a:pt x="9" y="134"/>
                    <a:pt x="38" y="164"/>
                    <a:pt x="74" y="168"/>
                  </a:cubicBezTo>
                  <a:cubicBezTo>
                    <a:pt x="77" y="168"/>
                    <a:pt x="80" y="168"/>
                    <a:pt x="83" y="168"/>
                  </a:cubicBezTo>
                  <a:cubicBezTo>
                    <a:pt x="123" y="168"/>
                    <a:pt x="156" y="139"/>
                    <a:pt x="161" y="100"/>
                  </a:cubicBezTo>
                  <a:cubicBezTo>
                    <a:pt x="162" y="94"/>
                    <a:pt x="158" y="89"/>
                    <a:pt x="152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86" y="89"/>
                    <a:pt x="83" y="86"/>
                    <a:pt x="83" y="82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83" y="15"/>
                    <a:pt x="79" y="11"/>
                    <a:pt x="74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35"/>
            <p:cNvSpPr>
              <a:spLocks noEditPoints="1"/>
            </p:cNvSpPr>
            <p:nvPr/>
          </p:nvSpPr>
          <p:spPr bwMode="auto">
            <a:xfrm>
              <a:off x="4816475" y="3505200"/>
              <a:ext cx="661988" cy="436563"/>
            </a:xfrm>
            <a:custGeom>
              <a:avLst/>
              <a:gdLst>
                <a:gd name="T0" fmla="*/ 2147483646 w 196"/>
                <a:gd name="T1" fmla="*/ 2147483646 h 122"/>
                <a:gd name="T2" fmla="*/ 2147483646 w 196"/>
                <a:gd name="T3" fmla="*/ 2147483646 h 122"/>
                <a:gd name="T4" fmla="*/ 0 w 196"/>
                <a:gd name="T5" fmla="*/ 2147483646 h 122"/>
                <a:gd name="T6" fmla="*/ 0 w 196"/>
                <a:gd name="T7" fmla="*/ 2147483646 h 122"/>
                <a:gd name="T8" fmla="*/ 2147483646 w 196"/>
                <a:gd name="T9" fmla="*/ 0 h 122"/>
                <a:gd name="T10" fmla="*/ 2147483646 w 196"/>
                <a:gd name="T11" fmla="*/ 0 h 122"/>
                <a:gd name="T12" fmla="*/ 2147483646 w 196"/>
                <a:gd name="T13" fmla="*/ 2147483646 h 122"/>
                <a:gd name="T14" fmla="*/ 2147483646 w 196"/>
                <a:gd name="T15" fmla="*/ 2147483646 h 122"/>
                <a:gd name="T16" fmla="*/ 2147483646 w 196"/>
                <a:gd name="T17" fmla="*/ 2147483646 h 122"/>
                <a:gd name="T18" fmla="*/ 2147483646 w 196"/>
                <a:gd name="T19" fmla="*/ 2147483646 h 122"/>
                <a:gd name="T20" fmla="*/ 2147483646 w 196"/>
                <a:gd name="T21" fmla="*/ 2147483646 h 122"/>
                <a:gd name="T22" fmla="*/ 2147483646 w 196"/>
                <a:gd name="T23" fmla="*/ 2147483646 h 122"/>
                <a:gd name="T24" fmla="*/ 2147483646 w 196"/>
                <a:gd name="T25" fmla="*/ 2147483646 h 122"/>
                <a:gd name="T26" fmla="*/ 2147483646 w 196"/>
                <a:gd name="T27" fmla="*/ 2147483646 h 122"/>
                <a:gd name="T28" fmla="*/ 2147483646 w 196"/>
                <a:gd name="T29" fmla="*/ 2147483646 h 122"/>
                <a:gd name="T30" fmla="*/ 2147483646 w 196"/>
                <a:gd name="T31" fmla="*/ 2147483646 h 122"/>
                <a:gd name="T32" fmla="*/ 2147483646 w 196"/>
                <a:gd name="T33" fmla="*/ 2147483646 h 122"/>
                <a:gd name="T34" fmla="*/ 2147483646 w 196"/>
                <a:gd name="T35" fmla="*/ 2147483646 h 122"/>
                <a:gd name="T36" fmla="*/ 2147483646 w 196"/>
                <a:gd name="T37" fmla="*/ 2147483646 h 122"/>
                <a:gd name="T38" fmla="*/ 2147483646 w 196"/>
                <a:gd name="T39" fmla="*/ 2147483646 h 122"/>
                <a:gd name="T40" fmla="*/ 2147483646 w 196"/>
                <a:gd name="T41" fmla="*/ 2147483646 h 122"/>
                <a:gd name="T42" fmla="*/ 2147483646 w 196"/>
                <a:gd name="T43" fmla="*/ 2147483646 h 122"/>
                <a:gd name="T44" fmla="*/ 2147483646 w 196"/>
                <a:gd name="T45" fmla="*/ 2147483646 h 122"/>
                <a:gd name="T46" fmla="*/ 2147483646 w 196"/>
                <a:gd name="T47" fmla="*/ 2147483646 h 122"/>
                <a:gd name="T48" fmla="*/ 2147483646 w 196"/>
                <a:gd name="T49" fmla="*/ 2147483646 h 122"/>
                <a:gd name="T50" fmla="*/ 2147483646 w 196"/>
                <a:gd name="T51" fmla="*/ 2147483646 h 122"/>
                <a:gd name="T52" fmla="*/ 2147483646 w 196"/>
                <a:gd name="T53" fmla="*/ 2147483646 h 122"/>
                <a:gd name="T54" fmla="*/ 2147483646 w 196"/>
                <a:gd name="T55" fmla="*/ 2147483646 h 122"/>
                <a:gd name="T56" fmla="*/ 2147483646 w 196"/>
                <a:gd name="T57" fmla="*/ 2147483646 h 122"/>
                <a:gd name="T58" fmla="*/ 2147483646 w 196"/>
                <a:gd name="T59" fmla="*/ 2147483646 h 122"/>
                <a:gd name="T60" fmla="*/ 2147483646 w 196"/>
                <a:gd name="T61" fmla="*/ 2147483646 h 122"/>
                <a:gd name="T62" fmla="*/ 2147483646 w 196"/>
                <a:gd name="T63" fmla="*/ 2147483646 h 122"/>
                <a:gd name="T64" fmla="*/ 2147483646 w 196"/>
                <a:gd name="T65" fmla="*/ 2147483646 h 122"/>
                <a:gd name="T66" fmla="*/ 2147483646 w 196"/>
                <a:gd name="T67" fmla="*/ 2147483646 h 122"/>
                <a:gd name="T68" fmla="*/ 2147483646 w 196"/>
                <a:gd name="T69" fmla="*/ 2147483646 h 122"/>
                <a:gd name="T70" fmla="*/ 2147483646 w 196"/>
                <a:gd name="T71" fmla="*/ 2147483646 h 122"/>
                <a:gd name="T72" fmla="*/ 2147483646 w 196"/>
                <a:gd name="T73" fmla="*/ 2147483646 h 122"/>
                <a:gd name="T74" fmla="*/ 2147483646 w 196"/>
                <a:gd name="T75" fmla="*/ 2147483646 h 122"/>
                <a:gd name="T76" fmla="*/ 2147483646 w 196"/>
                <a:gd name="T77" fmla="*/ 2147483646 h 12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96" h="122">
                  <a:moveTo>
                    <a:pt x="171" y="122"/>
                  </a:moveTo>
                  <a:cubicBezTo>
                    <a:pt x="25" y="122"/>
                    <a:pt x="25" y="122"/>
                    <a:pt x="25" y="122"/>
                  </a:cubicBezTo>
                  <a:cubicBezTo>
                    <a:pt x="11" y="122"/>
                    <a:pt x="0" y="111"/>
                    <a:pt x="0" y="9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85" y="0"/>
                    <a:pt x="196" y="11"/>
                    <a:pt x="196" y="24"/>
                  </a:cubicBezTo>
                  <a:cubicBezTo>
                    <a:pt x="196" y="98"/>
                    <a:pt x="196" y="98"/>
                    <a:pt x="196" y="98"/>
                  </a:cubicBezTo>
                  <a:cubicBezTo>
                    <a:pt x="196" y="111"/>
                    <a:pt x="185" y="122"/>
                    <a:pt x="171" y="122"/>
                  </a:cubicBezTo>
                  <a:close/>
                  <a:moveTo>
                    <a:pt x="25" y="7"/>
                  </a:moveTo>
                  <a:cubicBezTo>
                    <a:pt x="15" y="7"/>
                    <a:pt x="8" y="15"/>
                    <a:pt x="8" y="24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107"/>
                    <a:pt x="15" y="115"/>
                    <a:pt x="25" y="115"/>
                  </a:cubicBezTo>
                  <a:cubicBezTo>
                    <a:pt x="171" y="115"/>
                    <a:pt x="171" y="115"/>
                    <a:pt x="171" y="115"/>
                  </a:cubicBezTo>
                  <a:cubicBezTo>
                    <a:pt x="180" y="115"/>
                    <a:pt x="188" y="107"/>
                    <a:pt x="188" y="98"/>
                  </a:cubicBezTo>
                  <a:cubicBezTo>
                    <a:pt x="188" y="24"/>
                    <a:pt x="188" y="24"/>
                    <a:pt x="188" y="24"/>
                  </a:cubicBezTo>
                  <a:cubicBezTo>
                    <a:pt x="188" y="15"/>
                    <a:pt x="180" y="7"/>
                    <a:pt x="171" y="7"/>
                  </a:cubicBezTo>
                  <a:lnTo>
                    <a:pt x="25" y="7"/>
                  </a:lnTo>
                  <a:close/>
                  <a:moveTo>
                    <a:pt x="168" y="103"/>
                  </a:moveTo>
                  <a:cubicBezTo>
                    <a:pt x="167" y="103"/>
                    <a:pt x="166" y="103"/>
                    <a:pt x="165" y="102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00" y="84"/>
                    <a:pt x="100" y="84"/>
                    <a:pt x="100" y="84"/>
                  </a:cubicBezTo>
                  <a:cubicBezTo>
                    <a:pt x="99" y="85"/>
                    <a:pt x="97" y="85"/>
                    <a:pt x="95" y="84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30" y="102"/>
                    <a:pt x="30" y="102"/>
                    <a:pt x="30" y="102"/>
                  </a:cubicBezTo>
                  <a:cubicBezTo>
                    <a:pt x="28" y="104"/>
                    <a:pt x="26" y="103"/>
                    <a:pt x="24" y="102"/>
                  </a:cubicBezTo>
                  <a:cubicBezTo>
                    <a:pt x="23" y="100"/>
                    <a:pt x="23" y="98"/>
                    <a:pt x="25" y="96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23" y="28"/>
                    <a:pt x="23" y="25"/>
                    <a:pt x="24" y="24"/>
                  </a:cubicBezTo>
                  <a:cubicBezTo>
                    <a:pt x="26" y="22"/>
                    <a:pt x="28" y="22"/>
                    <a:pt x="30" y="23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166" y="23"/>
                    <a:pt x="166" y="23"/>
                    <a:pt x="166" y="23"/>
                  </a:cubicBezTo>
                  <a:cubicBezTo>
                    <a:pt x="167" y="22"/>
                    <a:pt x="170" y="22"/>
                    <a:pt x="171" y="24"/>
                  </a:cubicBezTo>
                  <a:cubicBezTo>
                    <a:pt x="172" y="25"/>
                    <a:pt x="172" y="28"/>
                    <a:pt x="170" y="29"/>
                  </a:cubicBezTo>
                  <a:cubicBezTo>
                    <a:pt x="129" y="62"/>
                    <a:pt x="129" y="62"/>
                    <a:pt x="129" y="62"/>
                  </a:cubicBezTo>
                  <a:cubicBezTo>
                    <a:pt x="170" y="96"/>
                    <a:pt x="170" y="96"/>
                    <a:pt x="170" y="96"/>
                  </a:cubicBezTo>
                  <a:cubicBezTo>
                    <a:pt x="172" y="98"/>
                    <a:pt x="172" y="100"/>
                    <a:pt x="171" y="102"/>
                  </a:cubicBezTo>
                  <a:cubicBezTo>
                    <a:pt x="170" y="103"/>
                    <a:pt x="169" y="103"/>
                    <a:pt x="168" y="1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36"/>
            <p:cNvSpPr>
              <a:spLocks noEditPoints="1"/>
            </p:cNvSpPr>
            <p:nvPr/>
          </p:nvSpPr>
          <p:spPr bwMode="auto">
            <a:xfrm>
              <a:off x="7608888" y="3462338"/>
              <a:ext cx="847725" cy="454025"/>
            </a:xfrm>
            <a:custGeom>
              <a:avLst/>
              <a:gdLst>
                <a:gd name="T0" fmla="*/ 2147483646 w 251"/>
                <a:gd name="T1" fmla="*/ 2147483646 h 127"/>
                <a:gd name="T2" fmla="*/ 2147483646 w 251"/>
                <a:gd name="T3" fmla="*/ 2147483646 h 127"/>
                <a:gd name="T4" fmla="*/ 2147483646 w 251"/>
                <a:gd name="T5" fmla="*/ 2147483646 h 127"/>
                <a:gd name="T6" fmla="*/ 2147483646 w 251"/>
                <a:gd name="T7" fmla="*/ 2147483646 h 127"/>
                <a:gd name="T8" fmla="*/ 2147483646 w 251"/>
                <a:gd name="T9" fmla="*/ 2147483646 h 127"/>
                <a:gd name="T10" fmla="*/ 2147483646 w 251"/>
                <a:gd name="T11" fmla="*/ 2147483646 h 127"/>
                <a:gd name="T12" fmla="*/ 2147483646 w 251"/>
                <a:gd name="T13" fmla="*/ 2147483646 h 127"/>
                <a:gd name="T14" fmla="*/ 2147483646 w 251"/>
                <a:gd name="T15" fmla="*/ 2147483646 h 127"/>
                <a:gd name="T16" fmla="*/ 2147483646 w 251"/>
                <a:gd name="T17" fmla="*/ 2147483646 h 127"/>
                <a:gd name="T18" fmla="*/ 2147483646 w 251"/>
                <a:gd name="T19" fmla="*/ 2147483646 h 127"/>
                <a:gd name="T20" fmla="*/ 2147483646 w 251"/>
                <a:gd name="T21" fmla="*/ 2147483646 h 127"/>
                <a:gd name="T22" fmla="*/ 2147483646 w 251"/>
                <a:gd name="T23" fmla="*/ 2147483646 h 127"/>
                <a:gd name="T24" fmla="*/ 2147483646 w 251"/>
                <a:gd name="T25" fmla="*/ 2147483646 h 127"/>
                <a:gd name="T26" fmla="*/ 2147483646 w 251"/>
                <a:gd name="T27" fmla="*/ 2147483646 h 127"/>
                <a:gd name="T28" fmla="*/ 2147483646 w 251"/>
                <a:gd name="T29" fmla="*/ 2147483646 h 127"/>
                <a:gd name="T30" fmla="*/ 2147483646 w 251"/>
                <a:gd name="T31" fmla="*/ 2147483646 h 127"/>
                <a:gd name="T32" fmla="*/ 2147483646 w 251"/>
                <a:gd name="T33" fmla="*/ 2147483646 h 127"/>
                <a:gd name="T34" fmla="*/ 2147483646 w 251"/>
                <a:gd name="T35" fmla="*/ 2147483646 h 127"/>
                <a:gd name="T36" fmla="*/ 2147483646 w 251"/>
                <a:gd name="T37" fmla="*/ 2147483646 h 127"/>
                <a:gd name="T38" fmla="*/ 2147483646 w 251"/>
                <a:gd name="T39" fmla="*/ 2147483646 h 127"/>
                <a:gd name="T40" fmla="*/ 2147483646 w 251"/>
                <a:gd name="T41" fmla="*/ 2147483646 h 127"/>
                <a:gd name="T42" fmla="*/ 2147483646 w 251"/>
                <a:gd name="T43" fmla="*/ 2147483646 h 127"/>
                <a:gd name="T44" fmla="*/ 2147483646 w 251"/>
                <a:gd name="T45" fmla="*/ 2147483646 h 127"/>
                <a:gd name="T46" fmla="*/ 2147483646 w 251"/>
                <a:gd name="T47" fmla="*/ 2147483646 h 127"/>
                <a:gd name="T48" fmla="*/ 2147483646 w 251"/>
                <a:gd name="T49" fmla="*/ 2147483646 h 127"/>
                <a:gd name="T50" fmla="*/ 2147483646 w 251"/>
                <a:gd name="T51" fmla="*/ 2147483646 h 127"/>
                <a:gd name="T52" fmla="*/ 2147483646 w 251"/>
                <a:gd name="T53" fmla="*/ 2147483646 h 127"/>
                <a:gd name="T54" fmla="*/ 2147483646 w 251"/>
                <a:gd name="T55" fmla="*/ 2147483646 h 127"/>
                <a:gd name="T56" fmla="*/ 2147483646 w 251"/>
                <a:gd name="T57" fmla="*/ 2147483646 h 127"/>
                <a:gd name="T58" fmla="*/ 2147483646 w 251"/>
                <a:gd name="T59" fmla="*/ 2147483646 h 127"/>
                <a:gd name="T60" fmla="*/ 2147483646 w 251"/>
                <a:gd name="T61" fmla="*/ 2147483646 h 127"/>
                <a:gd name="T62" fmla="*/ 2147483646 w 251"/>
                <a:gd name="T63" fmla="*/ 2147483646 h 127"/>
                <a:gd name="T64" fmla="*/ 2147483646 w 251"/>
                <a:gd name="T65" fmla="*/ 2147483646 h 127"/>
                <a:gd name="T66" fmla="*/ 2147483646 w 251"/>
                <a:gd name="T67" fmla="*/ 2147483646 h 127"/>
                <a:gd name="T68" fmla="*/ 2147483646 w 251"/>
                <a:gd name="T69" fmla="*/ 2147483646 h 127"/>
                <a:gd name="T70" fmla="*/ 2147483646 w 251"/>
                <a:gd name="T71" fmla="*/ 2147483646 h 127"/>
                <a:gd name="T72" fmla="*/ 2147483646 w 251"/>
                <a:gd name="T73" fmla="*/ 2147483646 h 127"/>
                <a:gd name="T74" fmla="*/ 2147483646 w 251"/>
                <a:gd name="T75" fmla="*/ 2147483646 h 127"/>
                <a:gd name="T76" fmla="*/ 2147483646 w 251"/>
                <a:gd name="T77" fmla="*/ 2147483646 h 127"/>
                <a:gd name="T78" fmla="*/ 2147483646 w 251"/>
                <a:gd name="T79" fmla="*/ 2147483646 h 127"/>
                <a:gd name="T80" fmla="*/ 2147483646 w 251"/>
                <a:gd name="T81" fmla="*/ 2147483646 h 127"/>
                <a:gd name="T82" fmla="*/ 2147483646 w 251"/>
                <a:gd name="T83" fmla="*/ 2147483646 h 127"/>
                <a:gd name="T84" fmla="*/ 2147483646 w 251"/>
                <a:gd name="T85" fmla="*/ 2147483646 h 127"/>
                <a:gd name="T86" fmla="*/ 2147483646 w 251"/>
                <a:gd name="T87" fmla="*/ 2147483646 h 127"/>
                <a:gd name="T88" fmla="*/ 2147483646 w 251"/>
                <a:gd name="T89" fmla="*/ 2147483646 h 127"/>
                <a:gd name="T90" fmla="*/ 2147483646 w 251"/>
                <a:gd name="T91" fmla="*/ 2147483646 h 127"/>
                <a:gd name="T92" fmla="*/ 2147483646 w 251"/>
                <a:gd name="T93" fmla="*/ 2147483646 h 1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51" h="127">
                  <a:moveTo>
                    <a:pt x="128" y="127"/>
                  </a:moveTo>
                  <a:cubicBezTo>
                    <a:pt x="114" y="126"/>
                    <a:pt x="102" y="126"/>
                    <a:pt x="90" y="123"/>
                  </a:cubicBezTo>
                  <a:cubicBezTo>
                    <a:pt x="86" y="122"/>
                    <a:pt x="82" y="121"/>
                    <a:pt x="79" y="119"/>
                  </a:cubicBezTo>
                  <a:cubicBezTo>
                    <a:pt x="72" y="116"/>
                    <a:pt x="69" y="111"/>
                    <a:pt x="69" y="108"/>
                  </a:cubicBezTo>
                  <a:cubicBezTo>
                    <a:pt x="68" y="104"/>
                    <a:pt x="70" y="99"/>
                    <a:pt x="73" y="95"/>
                  </a:cubicBezTo>
                  <a:cubicBezTo>
                    <a:pt x="79" y="90"/>
                    <a:pt x="86" y="85"/>
                    <a:pt x="96" y="81"/>
                  </a:cubicBezTo>
                  <a:cubicBezTo>
                    <a:pt x="99" y="79"/>
                    <a:pt x="101" y="78"/>
                    <a:pt x="104" y="77"/>
                  </a:cubicBezTo>
                  <a:cubicBezTo>
                    <a:pt x="107" y="76"/>
                    <a:pt x="107" y="76"/>
                    <a:pt x="107" y="76"/>
                  </a:cubicBezTo>
                  <a:cubicBezTo>
                    <a:pt x="109" y="75"/>
                    <a:pt x="110" y="74"/>
                    <a:pt x="111" y="72"/>
                  </a:cubicBezTo>
                  <a:cubicBezTo>
                    <a:pt x="111" y="71"/>
                    <a:pt x="110" y="69"/>
                    <a:pt x="109" y="68"/>
                  </a:cubicBezTo>
                  <a:cubicBezTo>
                    <a:pt x="99" y="57"/>
                    <a:pt x="94" y="45"/>
                    <a:pt x="95" y="29"/>
                  </a:cubicBezTo>
                  <a:cubicBezTo>
                    <a:pt x="95" y="14"/>
                    <a:pt x="104" y="5"/>
                    <a:pt x="119" y="1"/>
                  </a:cubicBezTo>
                  <a:cubicBezTo>
                    <a:pt x="122" y="0"/>
                    <a:pt x="125" y="0"/>
                    <a:pt x="128" y="0"/>
                  </a:cubicBezTo>
                  <a:cubicBezTo>
                    <a:pt x="131" y="0"/>
                    <a:pt x="135" y="0"/>
                    <a:pt x="138" y="1"/>
                  </a:cubicBezTo>
                  <a:cubicBezTo>
                    <a:pt x="153" y="5"/>
                    <a:pt x="162" y="14"/>
                    <a:pt x="162" y="29"/>
                  </a:cubicBezTo>
                  <a:cubicBezTo>
                    <a:pt x="163" y="45"/>
                    <a:pt x="158" y="58"/>
                    <a:pt x="148" y="68"/>
                  </a:cubicBezTo>
                  <a:cubicBezTo>
                    <a:pt x="146" y="69"/>
                    <a:pt x="146" y="71"/>
                    <a:pt x="146" y="72"/>
                  </a:cubicBezTo>
                  <a:cubicBezTo>
                    <a:pt x="147" y="74"/>
                    <a:pt x="148" y="75"/>
                    <a:pt x="150" y="76"/>
                  </a:cubicBezTo>
                  <a:cubicBezTo>
                    <a:pt x="152" y="77"/>
                    <a:pt x="152" y="77"/>
                    <a:pt x="152" y="77"/>
                  </a:cubicBezTo>
                  <a:cubicBezTo>
                    <a:pt x="155" y="78"/>
                    <a:pt x="158" y="79"/>
                    <a:pt x="161" y="81"/>
                  </a:cubicBezTo>
                  <a:cubicBezTo>
                    <a:pt x="171" y="85"/>
                    <a:pt x="178" y="90"/>
                    <a:pt x="183" y="95"/>
                  </a:cubicBezTo>
                  <a:cubicBezTo>
                    <a:pt x="187" y="99"/>
                    <a:pt x="188" y="104"/>
                    <a:pt x="187" y="108"/>
                  </a:cubicBezTo>
                  <a:cubicBezTo>
                    <a:pt x="186" y="113"/>
                    <a:pt x="183" y="117"/>
                    <a:pt x="178" y="119"/>
                  </a:cubicBezTo>
                  <a:cubicBezTo>
                    <a:pt x="178" y="119"/>
                    <a:pt x="178" y="119"/>
                    <a:pt x="178" y="119"/>
                  </a:cubicBezTo>
                  <a:cubicBezTo>
                    <a:pt x="175" y="121"/>
                    <a:pt x="171" y="122"/>
                    <a:pt x="167" y="123"/>
                  </a:cubicBezTo>
                  <a:cubicBezTo>
                    <a:pt x="155" y="126"/>
                    <a:pt x="143" y="126"/>
                    <a:pt x="128" y="127"/>
                  </a:cubicBezTo>
                  <a:close/>
                  <a:moveTo>
                    <a:pt x="128" y="7"/>
                  </a:moveTo>
                  <a:cubicBezTo>
                    <a:pt x="126" y="7"/>
                    <a:pt x="123" y="7"/>
                    <a:pt x="121" y="8"/>
                  </a:cubicBezTo>
                  <a:cubicBezTo>
                    <a:pt x="108" y="11"/>
                    <a:pt x="102" y="18"/>
                    <a:pt x="102" y="30"/>
                  </a:cubicBezTo>
                  <a:cubicBezTo>
                    <a:pt x="101" y="43"/>
                    <a:pt x="105" y="54"/>
                    <a:pt x="114" y="63"/>
                  </a:cubicBezTo>
                  <a:cubicBezTo>
                    <a:pt x="117" y="66"/>
                    <a:pt x="118" y="70"/>
                    <a:pt x="117" y="74"/>
                  </a:cubicBezTo>
                  <a:cubicBezTo>
                    <a:pt x="117" y="78"/>
                    <a:pt x="113" y="81"/>
                    <a:pt x="109" y="83"/>
                  </a:cubicBezTo>
                  <a:cubicBezTo>
                    <a:pt x="107" y="84"/>
                    <a:pt x="107" y="84"/>
                    <a:pt x="107" y="84"/>
                  </a:cubicBezTo>
                  <a:cubicBezTo>
                    <a:pt x="104" y="85"/>
                    <a:pt x="101" y="86"/>
                    <a:pt x="99" y="87"/>
                  </a:cubicBezTo>
                  <a:cubicBezTo>
                    <a:pt x="90" y="91"/>
                    <a:pt x="83" y="95"/>
                    <a:pt x="78" y="100"/>
                  </a:cubicBezTo>
                  <a:cubicBezTo>
                    <a:pt x="76" y="102"/>
                    <a:pt x="75" y="105"/>
                    <a:pt x="76" y="107"/>
                  </a:cubicBezTo>
                  <a:cubicBezTo>
                    <a:pt x="76" y="109"/>
                    <a:pt x="78" y="111"/>
                    <a:pt x="82" y="113"/>
                  </a:cubicBezTo>
                  <a:cubicBezTo>
                    <a:pt x="85" y="114"/>
                    <a:pt x="88" y="116"/>
                    <a:pt x="91" y="116"/>
                  </a:cubicBezTo>
                  <a:cubicBezTo>
                    <a:pt x="103" y="119"/>
                    <a:pt x="114" y="119"/>
                    <a:pt x="128" y="120"/>
                  </a:cubicBezTo>
                  <a:cubicBezTo>
                    <a:pt x="142" y="119"/>
                    <a:pt x="154" y="119"/>
                    <a:pt x="165" y="116"/>
                  </a:cubicBezTo>
                  <a:cubicBezTo>
                    <a:pt x="169" y="116"/>
                    <a:pt x="172" y="114"/>
                    <a:pt x="175" y="113"/>
                  </a:cubicBezTo>
                  <a:cubicBezTo>
                    <a:pt x="178" y="112"/>
                    <a:pt x="180" y="110"/>
                    <a:pt x="180" y="107"/>
                  </a:cubicBezTo>
                  <a:cubicBezTo>
                    <a:pt x="181" y="104"/>
                    <a:pt x="180" y="102"/>
                    <a:pt x="179" y="100"/>
                  </a:cubicBezTo>
                  <a:cubicBezTo>
                    <a:pt x="174" y="95"/>
                    <a:pt x="167" y="91"/>
                    <a:pt x="158" y="87"/>
                  </a:cubicBezTo>
                  <a:cubicBezTo>
                    <a:pt x="156" y="86"/>
                    <a:pt x="153" y="85"/>
                    <a:pt x="150" y="84"/>
                  </a:cubicBezTo>
                  <a:cubicBezTo>
                    <a:pt x="148" y="83"/>
                    <a:pt x="148" y="83"/>
                    <a:pt x="148" y="83"/>
                  </a:cubicBezTo>
                  <a:cubicBezTo>
                    <a:pt x="143" y="81"/>
                    <a:pt x="140" y="78"/>
                    <a:pt x="139" y="74"/>
                  </a:cubicBezTo>
                  <a:cubicBezTo>
                    <a:pt x="139" y="70"/>
                    <a:pt x="140" y="66"/>
                    <a:pt x="143" y="63"/>
                  </a:cubicBezTo>
                  <a:cubicBezTo>
                    <a:pt x="152" y="54"/>
                    <a:pt x="156" y="43"/>
                    <a:pt x="155" y="30"/>
                  </a:cubicBezTo>
                  <a:cubicBezTo>
                    <a:pt x="155" y="18"/>
                    <a:pt x="149" y="11"/>
                    <a:pt x="136" y="8"/>
                  </a:cubicBezTo>
                  <a:cubicBezTo>
                    <a:pt x="133" y="7"/>
                    <a:pt x="131" y="7"/>
                    <a:pt x="128" y="7"/>
                  </a:cubicBezTo>
                  <a:close/>
                  <a:moveTo>
                    <a:pt x="177" y="116"/>
                  </a:moveTo>
                  <a:cubicBezTo>
                    <a:pt x="177" y="116"/>
                    <a:pt x="177" y="116"/>
                    <a:pt x="177" y="116"/>
                  </a:cubicBezTo>
                  <a:close/>
                  <a:moveTo>
                    <a:pt x="209" y="127"/>
                  </a:moveTo>
                  <a:cubicBezTo>
                    <a:pt x="206" y="127"/>
                    <a:pt x="206" y="127"/>
                    <a:pt x="206" y="127"/>
                  </a:cubicBezTo>
                  <a:cubicBezTo>
                    <a:pt x="200" y="127"/>
                    <a:pt x="197" y="126"/>
                    <a:pt x="190" y="126"/>
                  </a:cubicBezTo>
                  <a:cubicBezTo>
                    <a:pt x="188" y="125"/>
                    <a:pt x="187" y="124"/>
                    <a:pt x="187" y="122"/>
                  </a:cubicBezTo>
                  <a:cubicBezTo>
                    <a:pt x="187" y="120"/>
                    <a:pt x="189" y="119"/>
                    <a:pt x="191" y="119"/>
                  </a:cubicBezTo>
                  <a:cubicBezTo>
                    <a:pt x="198" y="120"/>
                    <a:pt x="200" y="120"/>
                    <a:pt x="207" y="120"/>
                  </a:cubicBezTo>
                  <a:cubicBezTo>
                    <a:pt x="209" y="120"/>
                    <a:pt x="209" y="120"/>
                    <a:pt x="209" y="120"/>
                  </a:cubicBezTo>
                  <a:cubicBezTo>
                    <a:pt x="218" y="120"/>
                    <a:pt x="226" y="119"/>
                    <a:pt x="234" y="117"/>
                  </a:cubicBezTo>
                  <a:cubicBezTo>
                    <a:pt x="237" y="117"/>
                    <a:pt x="239" y="116"/>
                    <a:pt x="241" y="115"/>
                  </a:cubicBezTo>
                  <a:cubicBezTo>
                    <a:pt x="243" y="114"/>
                    <a:pt x="244" y="113"/>
                    <a:pt x="244" y="112"/>
                  </a:cubicBezTo>
                  <a:cubicBezTo>
                    <a:pt x="244" y="110"/>
                    <a:pt x="243" y="109"/>
                    <a:pt x="243" y="108"/>
                  </a:cubicBezTo>
                  <a:cubicBezTo>
                    <a:pt x="239" y="105"/>
                    <a:pt x="235" y="102"/>
                    <a:pt x="229" y="99"/>
                  </a:cubicBezTo>
                  <a:cubicBezTo>
                    <a:pt x="227" y="98"/>
                    <a:pt x="225" y="97"/>
                    <a:pt x="223" y="97"/>
                  </a:cubicBezTo>
                  <a:cubicBezTo>
                    <a:pt x="222" y="96"/>
                    <a:pt x="222" y="96"/>
                    <a:pt x="222" y="96"/>
                  </a:cubicBezTo>
                  <a:cubicBezTo>
                    <a:pt x="218" y="95"/>
                    <a:pt x="216" y="92"/>
                    <a:pt x="215" y="89"/>
                  </a:cubicBezTo>
                  <a:cubicBezTo>
                    <a:pt x="215" y="86"/>
                    <a:pt x="216" y="83"/>
                    <a:pt x="218" y="80"/>
                  </a:cubicBezTo>
                  <a:cubicBezTo>
                    <a:pt x="224" y="75"/>
                    <a:pt x="227" y="67"/>
                    <a:pt x="226" y="58"/>
                  </a:cubicBezTo>
                  <a:cubicBezTo>
                    <a:pt x="226" y="51"/>
                    <a:pt x="222" y="46"/>
                    <a:pt x="214" y="44"/>
                  </a:cubicBezTo>
                  <a:cubicBezTo>
                    <a:pt x="212" y="44"/>
                    <a:pt x="210" y="43"/>
                    <a:pt x="209" y="43"/>
                  </a:cubicBezTo>
                  <a:cubicBezTo>
                    <a:pt x="207" y="43"/>
                    <a:pt x="205" y="44"/>
                    <a:pt x="204" y="44"/>
                  </a:cubicBezTo>
                  <a:cubicBezTo>
                    <a:pt x="195" y="46"/>
                    <a:pt x="191" y="51"/>
                    <a:pt x="191" y="58"/>
                  </a:cubicBezTo>
                  <a:cubicBezTo>
                    <a:pt x="191" y="67"/>
                    <a:pt x="193" y="75"/>
                    <a:pt x="199" y="80"/>
                  </a:cubicBezTo>
                  <a:cubicBezTo>
                    <a:pt x="202" y="83"/>
                    <a:pt x="203" y="86"/>
                    <a:pt x="202" y="89"/>
                  </a:cubicBezTo>
                  <a:cubicBezTo>
                    <a:pt x="202" y="92"/>
                    <a:pt x="200" y="94"/>
                    <a:pt x="197" y="95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194" y="96"/>
                    <a:pt x="192" y="95"/>
                    <a:pt x="192" y="94"/>
                  </a:cubicBezTo>
                  <a:cubicBezTo>
                    <a:pt x="191" y="92"/>
                    <a:pt x="192" y="90"/>
                    <a:pt x="194" y="89"/>
                  </a:cubicBezTo>
                  <a:cubicBezTo>
                    <a:pt x="194" y="89"/>
                    <a:pt x="194" y="89"/>
                    <a:pt x="194" y="89"/>
                  </a:cubicBezTo>
                  <a:cubicBezTo>
                    <a:pt x="195" y="89"/>
                    <a:pt x="196" y="88"/>
                    <a:pt x="196" y="88"/>
                  </a:cubicBezTo>
                  <a:cubicBezTo>
                    <a:pt x="196" y="87"/>
                    <a:pt x="195" y="86"/>
                    <a:pt x="194" y="85"/>
                  </a:cubicBezTo>
                  <a:cubicBezTo>
                    <a:pt x="187" y="78"/>
                    <a:pt x="184" y="69"/>
                    <a:pt x="184" y="58"/>
                  </a:cubicBezTo>
                  <a:cubicBezTo>
                    <a:pt x="184" y="50"/>
                    <a:pt x="188" y="41"/>
                    <a:pt x="202" y="37"/>
                  </a:cubicBezTo>
                  <a:cubicBezTo>
                    <a:pt x="204" y="37"/>
                    <a:pt x="206" y="36"/>
                    <a:pt x="209" y="36"/>
                  </a:cubicBezTo>
                  <a:cubicBezTo>
                    <a:pt x="211" y="36"/>
                    <a:pt x="213" y="37"/>
                    <a:pt x="215" y="37"/>
                  </a:cubicBezTo>
                  <a:cubicBezTo>
                    <a:pt x="230" y="41"/>
                    <a:pt x="233" y="50"/>
                    <a:pt x="233" y="58"/>
                  </a:cubicBezTo>
                  <a:cubicBezTo>
                    <a:pt x="234" y="69"/>
                    <a:pt x="230" y="78"/>
                    <a:pt x="223" y="85"/>
                  </a:cubicBezTo>
                  <a:cubicBezTo>
                    <a:pt x="222" y="86"/>
                    <a:pt x="222" y="87"/>
                    <a:pt x="222" y="88"/>
                  </a:cubicBezTo>
                  <a:cubicBezTo>
                    <a:pt x="222" y="88"/>
                    <a:pt x="223" y="89"/>
                    <a:pt x="224" y="90"/>
                  </a:cubicBezTo>
                  <a:cubicBezTo>
                    <a:pt x="226" y="90"/>
                    <a:pt x="226" y="90"/>
                    <a:pt x="226" y="90"/>
                  </a:cubicBezTo>
                  <a:cubicBezTo>
                    <a:pt x="228" y="91"/>
                    <a:pt x="230" y="92"/>
                    <a:pt x="232" y="93"/>
                  </a:cubicBezTo>
                  <a:cubicBezTo>
                    <a:pt x="239" y="96"/>
                    <a:pt x="244" y="99"/>
                    <a:pt x="248" y="103"/>
                  </a:cubicBezTo>
                  <a:cubicBezTo>
                    <a:pt x="250" y="106"/>
                    <a:pt x="251" y="109"/>
                    <a:pt x="251" y="113"/>
                  </a:cubicBezTo>
                  <a:cubicBezTo>
                    <a:pt x="250" y="117"/>
                    <a:pt x="247" y="120"/>
                    <a:pt x="244" y="121"/>
                  </a:cubicBezTo>
                  <a:cubicBezTo>
                    <a:pt x="241" y="123"/>
                    <a:pt x="239" y="123"/>
                    <a:pt x="236" y="124"/>
                  </a:cubicBezTo>
                  <a:cubicBezTo>
                    <a:pt x="227" y="126"/>
                    <a:pt x="219" y="126"/>
                    <a:pt x="209" y="127"/>
                  </a:cubicBezTo>
                  <a:close/>
                  <a:moveTo>
                    <a:pt x="48" y="127"/>
                  </a:moveTo>
                  <a:cubicBezTo>
                    <a:pt x="36" y="126"/>
                    <a:pt x="27" y="126"/>
                    <a:pt x="18" y="124"/>
                  </a:cubicBezTo>
                  <a:cubicBezTo>
                    <a:pt x="15" y="123"/>
                    <a:pt x="12" y="122"/>
                    <a:pt x="9" y="121"/>
                  </a:cubicBezTo>
                  <a:cubicBezTo>
                    <a:pt x="5" y="119"/>
                    <a:pt x="2" y="115"/>
                    <a:pt x="1" y="112"/>
                  </a:cubicBezTo>
                  <a:cubicBezTo>
                    <a:pt x="0" y="108"/>
                    <a:pt x="2" y="104"/>
                    <a:pt x="5" y="101"/>
                  </a:cubicBezTo>
                  <a:cubicBezTo>
                    <a:pt x="9" y="97"/>
                    <a:pt x="14" y="93"/>
                    <a:pt x="22" y="90"/>
                  </a:cubicBezTo>
                  <a:cubicBezTo>
                    <a:pt x="24" y="89"/>
                    <a:pt x="27" y="88"/>
                    <a:pt x="29" y="87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2" y="86"/>
                    <a:pt x="33" y="85"/>
                    <a:pt x="33" y="84"/>
                  </a:cubicBezTo>
                  <a:cubicBezTo>
                    <a:pt x="33" y="83"/>
                    <a:pt x="33" y="82"/>
                    <a:pt x="32" y="81"/>
                  </a:cubicBezTo>
                  <a:cubicBezTo>
                    <a:pt x="24" y="73"/>
                    <a:pt x="20" y="63"/>
                    <a:pt x="21" y="51"/>
                  </a:cubicBezTo>
                  <a:cubicBezTo>
                    <a:pt x="21" y="43"/>
                    <a:pt x="25" y="32"/>
                    <a:pt x="40" y="28"/>
                  </a:cubicBezTo>
                  <a:cubicBezTo>
                    <a:pt x="43" y="28"/>
                    <a:pt x="45" y="27"/>
                    <a:pt x="48" y="27"/>
                  </a:cubicBezTo>
                  <a:cubicBezTo>
                    <a:pt x="50" y="27"/>
                    <a:pt x="53" y="28"/>
                    <a:pt x="55" y="28"/>
                  </a:cubicBezTo>
                  <a:cubicBezTo>
                    <a:pt x="71" y="32"/>
                    <a:pt x="74" y="43"/>
                    <a:pt x="75" y="51"/>
                  </a:cubicBezTo>
                  <a:cubicBezTo>
                    <a:pt x="75" y="63"/>
                    <a:pt x="71" y="73"/>
                    <a:pt x="63" y="81"/>
                  </a:cubicBezTo>
                  <a:cubicBezTo>
                    <a:pt x="63" y="82"/>
                    <a:pt x="62" y="83"/>
                    <a:pt x="62" y="84"/>
                  </a:cubicBezTo>
                  <a:cubicBezTo>
                    <a:pt x="62" y="85"/>
                    <a:pt x="63" y="86"/>
                    <a:pt x="65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68" y="88"/>
                    <a:pt x="69" y="90"/>
                    <a:pt x="68" y="91"/>
                  </a:cubicBezTo>
                  <a:cubicBezTo>
                    <a:pt x="68" y="93"/>
                    <a:pt x="66" y="94"/>
                    <a:pt x="64" y="93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9" y="91"/>
                    <a:pt x="56" y="89"/>
                    <a:pt x="55" y="85"/>
                  </a:cubicBezTo>
                  <a:cubicBezTo>
                    <a:pt x="55" y="82"/>
                    <a:pt x="56" y="79"/>
                    <a:pt x="58" y="76"/>
                  </a:cubicBezTo>
                  <a:cubicBezTo>
                    <a:pt x="65" y="70"/>
                    <a:pt x="68" y="61"/>
                    <a:pt x="68" y="51"/>
                  </a:cubicBezTo>
                  <a:cubicBezTo>
                    <a:pt x="67" y="43"/>
                    <a:pt x="63" y="37"/>
                    <a:pt x="53" y="35"/>
                  </a:cubicBezTo>
                  <a:cubicBezTo>
                    <a:pt x="51" y="35"/>
                    <a:pt x="50" y="34"/>
                    <a:pt x="48" y="34"/>
                  </a:cubicBezTo>
                  <a:cubicBezTo>
                    <a:pt x="46" y="34"/>
                    <a:pt x="44" y="35"/>
                    <a:pt x="42" y="35"/>
                  </a:cubicBezTo>
                  <a:cubicBezTo>
                    <a:pt x="33" y="37"/>
                    <a:pt x="28" y="43"/>
                    <a:pt x="28" y="51"/>
                  </a:cubicBezTo>
                  <a:cubicBezTo>
                    <a:pt x="27" y="61"/>
                    <a:pt x="30" y="69"/>
                    <a:pt x="37" y="76"/>
                  </a:cubicBezTo>
                  <a:cubicBezTo>
                    <a:pt x="40" y="79"/>
                    <a:pt x="41" y="82"/>
                    <a:pt x="40" y="85"/>
                  </a:cubicBezTo>
                  <a:cubicBezTo>
                    <a:pt x="39" y="89"/>
                    <a:pt x="37" y="91"/>
                    <a:pt x="33" y="93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29" y="94"/>
                    <a:pt x="27" y="95"/>
                    <a:pt x="25" y="96"/>
                  </a:cubicBezTo>
                  <a:cubicBezTo>
                    <a:pt x="18" y="99"/>
                    <a:pt x="13" y="102"/>
                    <a:pt x="10" y="106"/>
                  </a:cubicBezTo>
                  <a:cubicBezTo>
                    <a:pt x="8" y="108"/>
                    <a:pt x="8" y="109"/>
                    <a:pt x="8" y="110"/>
                  </a:cubicBezTo>
                  <a:cubicBezTo>
                    <a:pt x="8" y="112"/>
                    <a:pt x="10" y="114"/>
                    <a:pt x="12" y="115"/>
                  </a:cubicBezTo>
                  <a:cubicBezTo>
                    <a:pt x="14" y="116"/>
                    <a:pt x="17" y="117"/>
                    <a:pt x="19" y="117"/>
                  </a:cubicBezTo>
                  <a:cubicBezTo>
                    <a:pt x="28" y="119"/>
                    <a:pt x="37" y="120"/>
                    <a:pt x="48" y="120"/>
                  </a:cubicBezTo>
                  <a:cubicBezTo>
                    <a:pt x="54" y="120"/>
                    <a:pt x="60" y="119"/>
                    <a:pt x="65" y="119"/>
                  </a:cubicBezTo>
                  <a:cubicBezTo>
                    <a:pt x="66" y="119"/>
                    <a:pt x="68" y="120"/>
                    <a:pt x="68" y="122"/>
                  </a:cubicBezTo>
                  <a:cubicBezTo>
                    <a:pt x="68" y="124"/>
                    <a:pt x="67" y="126"/>
                    <a:pt x="65" y="126"/>
                  </a:cubicBezTo>
                  <a:cubicBezTo>
                    <a:pt x="60" y="126"/>
                    <a:pt x="54" y="127"/>
                    <a:pt x="48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37"/>
            <p:cNvSpPr>
              <a:spLocks noEditPoints="1"/>
            </p:cNvSpPr>
            <p:nvPr/>
          </p:nvSpPr>
          <p:spPr bwMode="auto">
            <a:xfrm>
              <a:off x="5154613" y="2082800"/>
              <a:ext cx="552450" cy="542925"/>
            </a:xfrm>
            <a:custGeom>
              <a:avLst/>
              <a:gdLst>
                <a:gd name="T0" fmla="*/ 2147483646 w 164"/>
                <a:gd name="T1" fmla="*/ 2147483646 h 152"/>
                <a:gd name="T2" fmla="*/ 0 w 164"/>
                <a:gd name="T3" fmla="*/ 2147483646 h 152"/>
                <a:gd name="T4" fmla="*/ 2147483646 w 164"/>
                <a:gd name="T5" fmla="*/ 2147483646 h 152"/>
                <a:gd name="T6" fmla="*/ 2147483646 w 164"/>
                <a:gd name="T7" fmla="*/ 2147483646 h 152"/>
                <a:gd name="T8" fmla="*/ 2147483646 w 164"/>
                <a:gd name="T9" fmla="*/ 2147483646 h 152"/>
                <a:gd name="T10" fmla="*/ 2147483646 w 164"/>
                <a:gd name="T11" fmla="*/ 2147483646 h 152"/>
                <a:gd name="T12" fmla="*/ 2147483646 w 164"/>
                <a:gd name="T13" fmla="*/ 2147483646 h 152"/>
                <a:gd name="T14" fmla="*/ 2147483646 w 164"/>
                <a:gd name="T15" fmla="*/ 2147483646 h 152"/>
                <a:gd name="T16" fmla="*/ 2147483646 w 164"/>
                <a:gd name="T17" fmla="*/ 2147483646 h 152"/>
                <a:gd name="T18" fmla="*/ 2147483646 w 164"/>
                <a:gd name="T19" fmla="*/ 2147483646 h 152"/>
                <a:gd name="T20" fmla="*/ 2147483646 w 164"/>
                <a:gd name="T21" fmla="*/ 2147483646 h 152"/>
                <a:gd name="T22" fmla="*/ 2147483646 w 164"/>
                <a:gd name="T23" fmla="*/ 2147483646 h 152"/>
                <a:gd name="T24" fmla="*/ 2147483646 w 164"/>
                <a:gd name="T25" fmla="*/ 2147483646 h 152"/>
                <a:gd name="T26" fmla="*/ 2147483646 w 164"/>
                <a:gd name="T27" fmla="*/ 2147483646 h 152"/>
                <a:gd name="T28" fmla="*/ 2147483646 w 164"/>
                <a:gd name="T29" fmla="*/ 2147483646 h 152"/>
                <a:gd name="T30" fmla="*/ 2147483646 w 164"/>
                <a:gd name="T31" fmla="*/ 2147483646 h 152"/>
                <a:gd name="T32" fmla="*/ 2147483646 w 164"/>
                <a:gd name="T33" fmla="*/ 2147483646 h 152"/>
                <a:gd name="T34" fmla="*/ 2147483646 w 164"/>
                <a:gd name="T35" fmla="*/ 2147483646 h 152"/>
                <a:gd name="T36" fmla="*/ 2147483646 w 164"/>
                <a:gd name="T37" fmla="*/ 2147483646 h 152"/>
                <a:gd name="T38" fmla="*/ 2147483646 w 164"/>
                <a:gd name="T39" fmla="*/ 2147483646 h 152"/>
                <a:gd name="T40" fmla="*/ 2147483646 w 164"/>
                <a:gd name="T41" fmla="*/ 2147483646 h 152"/>
                <a:gd name="T42" fmla="*/ 2147483646 w 164"/>
                <a:gd name="T43" fmla="*/ 2147483646 h 152"/>
                <a:gd name="T44" fmla="*/ 2147483646 w 164"/>
                <a:gd name="T45" fmla="*/ 2147483646 h 152"/>
                <a:gd name="T46" fmla="*/ 2147483646 w 164"/>
                <a:gd name="T47" fmla="*/ 2147483646 h 152"/>
                <a:gd name="T48" fmla="*/ 0 w 164"/>
                <a:gd name="T49" fmla="*/ 2147483646 h 152"/>
                <a:gd name="T50" fmla="*/ 2147483646 w 164"/>
                <a:gd name="T51" fmla="*/ 2147483646 h 152"/>
                <a:gd name="T52" fmla="*/ 2147483646 w 164"/>
                <a:gd name="T53" fmla="*/ 2147483646 h 152"/>
                <a:gd name="T54" fmla="*/ 2147483646 w 164"/>
                <a:gd name="T55" fmla="*/ 2147483646 h 152"/>
                <a:gd name="T56" fmla="*/ 2147483646 w 164"/>
                <a:gd name="T57" fmla="*/ 2147483646 h 152"/>
                <a:gd name="T58" fmla="*/ 2147483646 w 164"/>
                <a:gd name="T59" fmla="*/ 2147483646 h 152"/>
                <a:gd name="T60" fmla="*/ 2147483646 w 164"/>
                <a:gd name="T61" fmla="*/ 2147483646 h 152"/>
                <a:gd name="T62" fmla="*/ 2147483646 w 164"/>
                <a:gd name="T63" fmla="*/ 2147483646 h 152"/>
                <a:gd name="T64" fmla="*/ 2147483646 w 164"/>
                <a:gd name="T65" fmla="*/ 0 h 152"/>
                <a:gd name="T66" fmla="*/ 2147483646 w 164"/>
                <a:gd name="T67" fmla="*/ 2147483646 h 15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64" h="152">
                  <a:moveTo>
                    <a:pt x="145" y="152"/>
                  </a:moveTo>
                  <a:cubicBezTo>
                    <a:pt x="19" y="152"/>
                    <a:pt x="19" y="152"/>
                    <a:pt x="19" y="152"/>
                  </a:cubicBezTo>
                  <a:cubicBezTo>
                    <a:pt x="9" y="152"/>
                    <a:pt x="0" y="143"/>
                    <a:pt x="0" y="132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96"/>
                    <a:pt x="2" y="95"/>
                    <a:pt x="4" y="95"/>
                  </a:cubicBezTo>
                  <a:cubicBezTo>
                    <a:pt x="6" y="95"/>
                    <a:pt x="8" y="96"/>
                    <a:pt x="8" y="98"/>
                  </a:cubicBezTo>
                  <a:cubicBezTo>
                    <a:pt x="8" y="132"/>
                    <a:pt x="8" y="132"/>
                    <a:pt x="8" y="132"/>
                  </a:cubicBezTo>
                  <a:cubicBezTo>
                    <a:pt x="8" y="139"/>
                    <a:pt x="13" y="144"/>
                    <a:pt x="19" y="144"/>
                  </a:cubicBezTo>
                  <a:cubicBezTo>
                    <a:pt x="145" y="144"/>
                    <a:pt x="145" y="144"/>
                    <a:pt x="145" y="144"/>
                  </a:cubicBezTo>
                  <a:cubicBezTo>
                    <a:pt x="151" y="144"/>
                    <a:pt x="157" y="139"/>
                    <a:pt x="157" y="132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157" y="97"/>
                    <a:pt x="158" y="95"/>
                    <a:pt x="160" y="95"/>
                  </a:cubicBezTo>
                  <a:cubicBezTo>
                    <a:pt x="162" y="95"/>
                    <a:pt x="164" y="97"/>
                    <a:pt x="164" y="99"/>
                  </a:cubicBezTo>
                  <a:cubicBezTo>
                    <a:pt x="164" y="132"/>
                    <a:pt x="164" y="132"/>
                    <a:pt x="164" y="132"/>
                  </a:cubicBezTo>
                  <a:cubicBezTo>
                    <a:pt x="164" y="143"/>
                    <a:pt x="155" y="152"/>
                    <a:pt x="145" y="152"/>
                  </a:cubicBezTo>
                  <a:close/>
                  <a:moveTo>
                    <a:pt x="89" y="109"/>
                  </a:moveTo>
                  <a:cubicBezTo>
                    <a:pt x="76" y="109"/>
                    <a:pt x="76" y="109"/>
                    <a:pt x="76" y="109"/>
                  </a:cubicBezTo>
                  <a:cubicBezTo>
                    <a:pt x="70" y="109"/>
                    <a:pt x="66" y="104"/>
                    <a:pt x="66" y="98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66" y="75"/>
                    <a:pt x="70" y="70"/>
                    <a:pt x="76" y="70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94" y="70"/>
                    <a:pt x="98" y="75"/>
                    <a:pt x="98" y="81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98" y="104"/>
                    <a:pt x="94" y="109"/>
                    <a:pt x="89" y="109"/>
                  </a:cubicBezTo>
                  <a:close/>
                  <a:moveTo>
                    <a:pt x="76" y="78"/>
                  </a:moveTo>
                  <a:cubicBezTo>
                    <a:pt x="75" y="78"/>
                    <a:pt x="73" y="79"/>
                    <a:pt x="73" y="81"/>
                  </a:cubicBezTo>
                  <a:cubicBezTo>
                    <a:pt x="73" y="98"/>
                    <a:pt x="73" y="98"/>
                    <a:pt x="73" y="98"/>
                  </a:cubicBezTo>
                  <a:cubicBezTo>
                    <a:pt x="73" y="100"/>
                    <a:pt x="75" y="101"/>
                    <a:pt x="76" y="101"/>
                  </a:cubicBezTo>
                  <a:cubicBezTo>
                    <a:pt x="89" y="101"/>
                    <a:pt x="89" y="101"/>
                    <a:pt x="89" y="101"/>
                  </a:cubicBezTo>
                  <a:cubicBezTo>
                    <a:pt x="90" y="101"/>
                    <a:pt x="91" y="100"/>
                    <a:pt x="91" y="98"/>
                  </a:cubicBezTo>
                  <a:cubicBezTo>
                    <a:pt x="91" y="81"/>
                    <a:pt x="91" y="81"/>
                    <a:pt x="91" y="81"/>
                  </a:cubicBezTo>
                  <a:cubicBezTo>
                    <a:pt x="91" y="79"/>
                    <a:pt x="90" y="78"/>
                    <a:pt x="89" y="78"/>
                  </a:cubicBezTo>
                  <a:lnTo>
                    <a:pt x="76" y="78"/>
                  </a:lnTo>
                  <a:close/>
                  <a:moveTo>
                    <a:pt x="145" y="93"/>
                  </a:moveTo>
                  <a:cubicBezTo>
                    <a:pt x="108" y="93"/>
                    <a:pt x="108" y="93"/>
                    <a:pt x="108" y="93"/>
                  </a:cubicBezTo>
                  <a:cubicBezTo>
                    <a:pt x="106" y="93"/>
                    <a:pt x="104" y="92"/>
                    <a:pt x="104" y="89"/>
                  </a:cubicBezTo>
                  <a:cubicBezTo>
                    <a:pt x="104" y="87"/>
                    <a:pt x="106" y="86"/>
                    <a:pt x="108" y="86"/>
                  </a:cubicBezTo>
                  <a:cubicBezTo>
                    <a:pt x="145" y="86"/>
                    <a:pt x="145" y="86"/>
                    <a:pt x="145" y="86"/>
                  </a:cubicBezTo>
                  <a:cubicBezTo>
                    <a:pt x="151" y="86"/>
                    <a:pt x="157" y="80"/>
                    <a:pt x="157" y="73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0"/>
                    <a:pt x="151" y="35"/>
                    <a:pt x="145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3" y="35"/>
                    <a:pt x="8" y="40"/>
                    <a:pt x="8" y="47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8" y="80"/>
                    <a:pt x="13" y="86"/>
                    <a:pt x="19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8" y="86"/>
                    <a:pt x="60" y="87"/>
                    <a:pt x="60" y="89"/>
                  </a:cubicBezTo>
                  <a:cubicBezTo>
                    <a:pt x="60" y="92"/>
                    <a:pt x="58" y="93"/>
                    <a:pt x="56" y="93"/>
                  </a:cubicBezTo>
                  <a:cubicBezTo>
                    <a:pt x="19" y="93"/>
                    <a:pt x="19" y="93"/>
                    <a:pt x="19" y="93"/>
                  </a:cubicBezTo>
                  <a:cubicBezTo>
                    <a:pt x="9" y="93"/>
                    <a:pt x="0" y="84"/>
                    <a:pt x="0" y="73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36"/>
                    <a:pt x="9" y="27"/>
                    <a:pt x="19" y="27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55" y="27"/>
                    <a:pt x="164" y="36"/>
                    <a:pt x="164" y="47"/>
                  </a:cubicBezTo>
                  <a:cubicBezTo>
                    <a:pt x="164" y="76"/>
                    <a:pt x="164" y="76"/>
                    <a:pt x="164" y="76"/>
                  </a:cubicBezTo>
                  <a:cubicBezTo>
                    <a:pt x="164" y="77"/>
                    <a:pt x="164" y="77"/>
                    <a:pt x="163" y="78"/>
                  </a:cubicBezTo>
                  <a:cubicBezTo>
                    <a:pt x="161" y="87"/>
                    <a:pt x="154" y="93"/>
                    <a:pt x="145" y="93"/>
                  </a:cubicBezTo>
                  <a:close/>
                  <a:moveTo>
                    <a:pt x="109" y="20"/>
                  </a:moveTo>
                  <a:cubicBezTo>
                    <a:pt x="107" y="20"/>
                    <a:pt x="106" y="19"/>
                    <a:pt x="106" y="17"/>
                  </a:cubicBezTo>
                  <a:cubicBezTo>
                    <a:pt x="106" y="12"/>
                    <a:pt x="101" y="8"/>
                    <a:pt x="96" y="8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3" y="8"/>
                    <a:pt x="59" y="12"/>
                    <a:pt x="59" y="17"/>
                  </a:cubicBezTo>
                  <a:cubicBezTo>
                    <a:pt x="59" y="19"/>
                    <a:pt x="57" y="20"/>
                    <a:pt x="55" y="20"/>
                  </a:cubicBezTo>
                  <a:cubicBezTo>
                    <a:pt x="53" y="20"/>
                    <a:pt x="51" y="19"/>
                    <a:pt x="51" y="17"/>
                  </a:cubicBezTo>
                  <a:cubicBezTo>
                    <a:pt x="51" y="7"/>
                    <a:pt x="59" y="0"/>
                    <a:pt x="6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5" y="0"/>
                    <a:pt x="113" y="7"/>
                    <a:pt x="113" y="17"/>
                  </a:cubicBezTo>
                  <a:cubicBezTo>
                    <a:pt x="113" y="19"/>
                    <a:pt x="111" y="20"/>
                    <a:pt x="109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38"/>
            <p:cNvSpPr>
              <a:spLocks noEditPoints="1"/>
            </p:cNvSpPr>
            <p:nvPr/>
          </p:nvSpPr>
          <p:spPr bwMode="auto">
            <a:xfrm>
              <a:off x="7470775" y="2108200"/>
              <a:ext cx="600075" cy="571500"/>
            </a:xfrm>
            <a:custGeom>
              <a:avLst/>
              <a:gdLst>
                <a:gd name="T0" fmla="*/ 2147483646 w 178"/>
                <a:gd name="T1" fmla="*/ 2147483646 h 160"/>
                <a:gd name="T2" fmla="*/ 2147483646 w 178"/>
                <a:gd name="T3" fmla="*/ 2147483646 h 160"/>
                <a:gd name="T4" fmla="*/ 2147483646 w 178"/>
                <a:gd name="T5" fmla="*/ 2147483646 h 160"/>
                <a:gd name="T6" fmla="*/ 2147483646 w 178"/>
                <a:gd name="T7" fmla="*/ 2147483646 h 160"/>
                <a:gd name="T8" fmla="*/ 2147483646 w 178"/>
                <a:gd name="T9" fmla="*/ 2147483646 h 160"/>
                <a:gd name="T10" fmla="*/ 2147483646 w 178"/>
                <a:gd name="T11" fmla="*/ 2147483646 h 160"/>
                <a:gd name="T12" fmla="*/ 2147483646 w 178"/>
                <a:gd name="T13" fmla="*/ 2147483646 h 160"/>
                <a:gd name="T14" fmla="*/ 2147483646 w 178"/>
                <a:gd name="T15" fmla="*/ 2147483646 h 160"/>
                <a:gd name="T16" fmla="*/ 2147483646 w 178"/>
                <a:gd name="T17" fmla="*/ 2147483646 h 160"/>
                <a:gd name="T18" fmla="*/ 2147483646 w 178"/>
                <a:gd name="T19" fmla="*/ 2147483646 h 160"/>
                <a:gd name="T20" fmla="*/ 2147483646 w 178"/>
                <a:gd name="T21" fmla="*/ 2147483646 h 160"/>
                <a:gd name="T22" fmla="*/ 2147483646 w 178"/>
                <a:gd name="T23" fmla="*/ 2147483646 h 160"/>
                <a:gd name="T24" fmla="*/ 2147483646 w 178"/>
                <a:gd name="T25" fmla="*/ 2147483646 h 160"/>
                <a:gd name="T26" fmla="*/ 2147483646 w 178"/>
                <a:gd name="T27" fmla="*/ 2147483646 h 160"/>
                <a:gd name="T28" fmla="*/ 2147483646 w 178"/>
                <a:gd name="T29" fmla="*/ 2147483646 h 160"/>
                <a:gd name="T30" fmla="*/ 2147483646 w 178"/>
                <a:gd name="T31" fmla="*/ 2147483646 h 160"/>
                <a:gd name="T32" fmla="*/ 2147483646 w 178"/>
                <a:gd name="T33" fmla="*/ 2147483646 h 160"/>
                <a:gd name="T34" fmla="*/ 2147483646 w 178"/>
                <a:gd name="T35" fmla="*/ 2147483646 h 160"/>
                <a:gd name="T36" fmla="*/ 2147483646 w 178"/>
                <a:gd name="T37" fmla="*/ 2147483646 h 160"/>
                <a:gd name="T38" fmla="*/ 2147483646 w 178"/>
                <a:gd name="T39" fmla="*/ 2147483646 h 160"/>
                <a:gd name="T40" fmla="*/ 2147483646 w 178"/>
                <a:gd name="T41" fmla="*/ 2147483646 h 160"/>
                <a:gd name="T42" fmla="*/ 2147483646 w 178"/>
                <a:gd name="T43" fmla="*/ 2147483646 h 160"/>
                <a:gd name="T44" fmla="*/ 2147483646 w 178"/>
                <a:gd name="T45" fmla="*/ 2147483646 h 160"/>
                <a:gd name="T46" fmla="*/ 2147483646 w 178"/>
                <a:gd name="T47" fmla="*/ 2147483646 h 160"/>
                <a:gd name="T48" fmla="*/ 2147483646 w 178"/>
                <a:gd name="T49" fmla="*/ 2147483646 h 160"/>
                <a:gd name="T50" fmla="*/ 2147483646 w 178"/>
                <a:gd name="T51" fmla="*/ 2147483646 h 160"/>
                <a:gd name="T52" fmla="*/ 2147483646 w 178"/>
                <a:gd name="T53" fmla="*/ 2147483646 h 160"/>
                <a:gd name="T54" fmla="*/ 2147483646 w 178"/>
                <a:gd name="T55" fmla="*/ 2147483646 h 160"/>
                <a:gd name="T56" fmla="*/ 2147483646 w 178"/>
                <a:gd name="T57" fmla="*/ 2147483646 h 160"/>
                <a:gd name="T58" fmla="*/ 2147483646 w 178"/>
                <a:gd name="T59" fmla="*/ 2147483646 h 160"/>
                <a:gd name="T60" fmla="*/ 2147483646 w 178"/>
                <a:gd name="T61" fmla="*/ 2147483646 h 160"/>
                <a:gd name="T62" fmla="*/ 2147483646 w 178"/>
                <a:gd name="T63" fmla="*/ 2147483646 h 160"/>
                <a:gd name="T64" fmla="*/ 2147483646 w 178"/>
                <a:gd name="T65" fmla="*/ 2147483646 h 160"/>
                <a:gd name="T66" fmla="*/ 2147483646 w 178"/>
                <a:gd name="T67" fmla="*/ 2147483646 h 160"/>
                <a:gd name="T68" fmla="*/ 2147483646 w 178"/>
                <a:gd name="T69" fmla="*/ 2147483646 h 160"/>
                <a:gd name="T70" fmla="*/ 2147483646 w 178"/>
                <a:gd name="T71" fmla="*/ 2147483646 h 160"/>
                <a:gd name="T72" fmla="*/ 2147483646 w 178"/>
                <a:gd name="T73" fmla="*/ 2147483646 h 160"/>
                <a:gd name="T74" fmla="*/ 2147483646 w 178"/>
                <a:gd name="T75" fmla="*/ 2147483646 h 160"/>
                <a:gd name="T76" fmla="*/ 2147483646 w 178"/>
                <a:gd name="T77" fmla="*/ 2147483646 h 160"/>
                <a:gd name="T78" fmla="*/ 2147483646 w 178"/>
                <a:gd name="T79" fmla="*/ 2147483646 h 160"/>
                <a:gd name="T80" fmla="*/ 2147483646 w 178"/>
                <a:gd name="T81" fmla="*/ 2147483646 h 160"/>
                <a:gd name="T82" fmla="*/ 2147483646 w 178"/>
                <a:gd name="T83" fmla="*/ 2147483646 h 160"/>
                <a:gd name="T84" fmla="*/ 2147483646 w 178"/>
                <a:gd name="T85" fmla="*/ 2147483646 h 160"/>
                <a:gd name="T86" fmla="*/ 2147483646 w 178"/>
                <a:gd name="T87" fmla="*/ 2147483646 h 160"/>
                <a:gd name="T88" fmla="*/ 2147483646 w 178"/>
                <a:gd name="T89" fmla="*/ 2147483646 h 160"/>
                <a:gd name="T90" fmla="*/ 2147483646 w 178"/>
                <a:gd name="T91" fmla="*/ 2147483646 h 160"/>
                <a:gd name="T92" fmla="*/ 0 w 178"/>
                <a:gd name="T93" fmla="*/ 2147483646 h 160"/>
                <a:gd name="T94" fmla="*/ 2147483646 w 178"/>
                <a:gd name="T95" fmla="*/ 2147483646 h 160"/>
                <a:gd name="T96" fmla="*/ 2147483646 w 178"/>
                <a:gd name="T97" fmla="*/ 2147483646 h 160"/>
                <a:gd name="T98" fmla="*/ 2147483646 w 178"/>
                <a:gd name="T99" fmla="*/ 2147483646 h 160"/>
                <a:gd name="T100" fmla="*/ 2147483646 w 178"/>
                <a:gd name="T101" fmla="*/ 2147483646 h 160"/>
                <a:gd name="T102" fmla="*/ 2147483646 w 178"/>
                <a:gd name="T103" fmla="*/ 2147483646 h 16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8" h="160">
                  <a:moveTo>
                    <a:pt x="38" y="72"/>
                  </a:moveTo>
                  <a:cubicBezTo>
                    <a:pt x="33" y="72"/>
                    <a:pt x="29" y="77"/>
                    <a:pt x="29" y="82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9"/>
                    <a:pt x="33" y="133"/>
                    <a:pt x="38" y="133"/>
                  </a:cubicBezTo>
                  <a:cubicBezTo>
                    <a:pt x="48" y="133"/>
                    <a:pt x="48" y="133"/>
                    <a:pt x="48" y="133"/>
                  </a:cubicBezTo>
                  <a:cubicBezTo>
                    <a:pt x="54" y="133"/>
                    <a:pt x="58" y="129"/>
                    <a:pt x="58" y="123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77"/>
                    <a:pt x="54" y="72"/>
                    <a:pt x="48" y="72"/>
                  </a:cubicBezTo>
                  <a:lnTo>
                    <a:pt x="38" y="72"/>
                  </a:lnTo>
                  <a:close/>
                  <a:moveTo>
                    <a:pt x="51" y="82"/>
                  </a:moveTo>
                  <a:cubicBezTo>
                    <a:pt x="51" y="123"/>
                    <a:pt x="51" y="123"/>
                    <a:pt x="51" y="123"/>
                  </a:cubicBezTo>
                  <a:cubicBezTo>
                    <a:pt x="51" y="124"/>
                    <a:pt x="50" y="125"/>
                    <a:pt x="48" y="125"/>
                  </a:cubicBezTo>
                  <a:cubicBezTo>
                    <a:pt x="38" y="125"/>
                    <a:pt x="38" y="125"/>
                    <a:pt x="38" y="125"/>
                  </a:cubicBezTo>
                  <a:cubicBezTo>
                    <a:pt x="37" y="125"/>
                    <a:pt x="36" y="124"/>
                    <a:pt x="36" y="123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1"/>
                    <a:pt x="37" y="80"/>
                    <a:pt x="3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50" y="80"/>
                    <a:pt x="51" y="81"/>
                    <a:pt x="51" y="82"/>
                  </a:cubicBezTo>
                  <a:close/>
                  <a:moveTo>
                    <a:pt x="75" y="58"/>
                  </a:moveTo>
                  <a:cubicBezTo>
                    <a:pt x="69" y="58"/>
                    <a:pt x="65" y="62"/>
                    <a:pt x="65" y="68"/>
                  </a:cubicBezTo>
                  <a:cubicBezTo>
                    <a:pt x="65" y="123"/>
                    <a:pt x="65" y="123"/>
                    <a:pt x="65" y="123"/>
                  </a:cubicBezTo>
                  <a:cubicBezTo>
                    <a:pt x="65" y="129"/>
                    <a:pt x="69" y="133"/>
                    <a:pt x="75" y="133"/>
                  </a:cubicBezTo>
                  <a:cubicBezTo>
                    <a:pt x="85" y="133"/>
                    <a:pt x="85" y="133"/>
                    <a:pt x="85" y="133"/>
                  </a:cubicBezTo>
                  <a:cubicBezTo>
                    <a:pt x="90" y="133"/>
                    <a:pt x="94" y="129"/>
                    <a:pt x="94" y="123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2"/>
                    <a:pt x="90" y="58"/>
                    <a:pt x="85" y="58"/>
                  </a:cubicBezTo>
                  <a:lnTo>
                    <a:pt x="75" y="58"/>
                  </a:lnTo>
                  <a:close/>
                  <a:moveTo>
                    <a:pt x="87" y="68"/>
                  </a:moveTo>
                  <a:cubicBezTo>
                    <a:pt x="87" y="123"/>
                    <a:pt x="87" y="123"/>
                    <a:pt x="87" y="123"/>
                  </a:cubicBezTo>
                  <a:cubicBezTo>
                    <a:pt x="87" y="124"/>
                    <a:pt x="86" y="125"/>
                    <a:pt x="85" y="125"/>
                  </a:cubicBezTo>
                  <a:cubicBezTo>
                    <a:pt x="75" y="125"/>
                    <a:pt x="75" y="125"/>
                    <a:pt x="75" y="125"/>
                  </a:cubicBezTo>
                  <a:cubicBezTo>
                    <a:pt x="74" y="125"/>
                    <a:pt x="73" y="124"/>
                    <a:pt x="73" y="123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73" y="66"/>
                    <a:pt x="74" y="66"/>
                    <a:pt x="75" y="66"/>
                  </a:cubicBezTo>
                  <a:cubicBezTo>
                    <a:pt x="85" y="66"/>
                    <a:pt x="85" y="66"/>
                    <a:pt x="85" y="66"/>
                  </a:cubicBezTo>
                  <a:cubicBezTo>
                    <a:pt x="86" y="66"/>
                    <a:pt x="87" y="66"/>
                    <a:pt x="87" y="68"/>
                  </a:cubicBezTo>
                  <a:close/>
                  <a:moveTo>
                    <a:pt x="111" y="45"/>
                  </a:moveTo>
                  <a:cubicBezTo>
                    <a:pt x="106" y="45"/>
                    <a:pt x="101" y="50"/>
                    <a:pt x="101" y="55"/>
                  </a:cubicBezTo>
                  <a:cubicBezTo>
                    <a:pt x="101" y="123"/>
                    <a:pt x="101" y="123"/>
                    <a:pt x="101" y="123"/>
                  </a:cubicBezTo>
                  <a:cubicBezTo>
                    <a:pt x="101" y="129"/>
                    <a:pt x="106" y="133"/>
                    <a:pt x="111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6" y="133"/>
                    <a:pt x="131" y="129"/>
                    <a:pt x="131" y="123"/>
                  </a:cubicBezTo>
                  <a:cubicBezTo>
                    <a:pt x="131" y="55"/>
                    <a:pt x="131" y="55"/>
                    <a:pt x="131" y="55"/>
                  </a:cubicBezTo>
                  <a:cubicBezTo>
                    <a:pt x="131" y="50"/>
                    <a:pt x="126" y="45"/>
                    <a:pt x="121" y="45"/>
                  </a:cubicBezTo>
                  <a:lnTo>
                    <a:pt x="111" y="45"/>
                  </a:lnTo>
                  <a:close/>
                  <a:moveTo>
                    <a:pt x="123" y="55"/>
                  </a:moveTo>
                  <a:cubicBezTo>
                    <a:pt x="123" y="123"/>
                    <a:pt x="123" y="123"/>
                    <a:pt x="123" y="123"/>
                  </a:cubicBezTo>
                  <a:cubicBezTo>
                    <a:pt x="123" y="124"/>
                    <a:pt x="122" y="125"/>
                    <a:pt x="121" y="125"/>
                  </a:cubicBezTo>
                  <a:cubicBezTo>
                    <a:pt x="111" y="125"/>
                    <a:pt x="111" y="125"/>
                    <a:pt x="111" y="125"/>
                  </a:cubicBezTo>
                  <a:cubicBezTo>
                    <a:pt x="110" y="125"/>
                    <a:pt x="109" y="124"/>
                    <a:pt x="109" y="123"/>
                  </a:cubicBezTo>
                  <a:cubicBezTo>
                    <a:pt x="109" y="55"/>
                    <a:pt x="109" y="55"/>
                    <a:pt x="109" y="55"/>
                  </a:cubicBezTo>
                  <a:cubicBezTo>
                    <a:pt x="109" y="54"/>
                    <a:pt x="110" y="53"/>
                    <a:pt x="111" y="53"/>
                  </a:cubicBezTo>
                  <a:cubicBezTo>
                    <a:pt x="121" y="53"/>
                    <a:pt x="121" y="53"/>
                    <a:pt x="121" y="53"/>
                  </a:cubicBezTo>
                  <a:cubicBezTo>
                    <a:pt x="122" y="53"/>
                    <a:pt x="123" y="54"/>
                    <a:pt x="123" y="55"/>
                  </a:cubicBezTo>
                  <a:close/>
                  <a:moveTo>
                    <a:pt x="138" y="42"/>
                  </a:moveTo>
                  <a:cubicBezTo>
                    <a:pt x="138" y="123"/>
                    <a:pt x="138" y="123"/>
                    <a:pt x="138" y="123"/>
                  </a:cubicBezTo>
                  <a:cubicBezTo>
                    <a:pt x="138" y="129"/>
                    <a:pt x="142" y="133"/>
                    <a:pt x="147" y="133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63" y="133"/>
                    <a:pt x="167" y="129"/>
                    <a:pt x="167" y="123"/>
                  </a:cubicBezTo>
                  <a:cubicBezTo>
                    <a:pt x="167" y="42"/>
                    <a:pt x="167" y="42"/>
                    <a:pt x="167" y="42"/>
                  </a:cubicBezTo>
                  <a:cubicBezTo>
                    <a:pt x="167" y="37"/>
                    <a:pt x="163" y="33"/>
                    <a:pt x="157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2" y="33"/>
                    <a:pt x="138" y="37"/>
                    <a:pt x="138" y="42"/>
                  </a:cubicBezTo>
                  <a:close/>
                  <a:moveTo>
                    <a:pt x="159" y="42"/>
                  </a:moveTo>
                  <a:cubicBezTo>
                    <a:pt x="159" y="123"/>
                    <a:pt x="159" y="123"/>
                    <a:pt x="159" y="123"/>
                  </a:cubicBezTo>
                  <a:cubicBezTo>
                    <a:pt x="159" y="124"/>
                    <a:pt x="158" y="125"/>
                    <a:pt x="157" y="125"/>
                  </a:cubicBezTo>
                  <a:cubicBezTo>
                    <a:pt x="147" y="125"/>
                    <a:pt x="147" y="125"/>
                    <a:pt x="147" y="125"/>
                  </a:cubicBezTo>
                  <a:cubicBezTo>
                    <a:pt x="146" y="125"/>
                    <a:pt x="145" y="124"/>
                    <a:pt x="145" y="123"/>
                  </a:cubicBezTo>
                  <a:cubicBezTo>
                    <a:pt x="145" y="42"/>
                    <a:pt x="145" y="42"/>
                    <a:pt x="145" y="42"/>
                  </a:cubicBezTo>
                  <a:cubicBezTo>
                    <a:pt x="145" y="41"/>
                    <a:pt x="146" y="40"/>
                    <a:pt x="147" y="40"/>
                  </a:cubicBezTo>
                  <a:cubicBezTo>
                    <a:pt x="157" y="40"/>
                    <a:pt x="157" y="40"/>
                    <a:pt x="157" y="40"/>
                  </a:cubicBezTo>
                  <a:cubicBezTo>
                    <a:pt x="158" y="40"/>
                    <a:pt x="159" y="41"/>
                    <a:pt x="159" y="42"/>
                  </a:cubicBezTo>
                  <a:close/>
                  <a:moveTo>
                    <a:pt x="92" y="32"/>
                  </a:moveTo>
                  <a:cubicBezTo>
                    <a:pt x="116" y="22"/>
                    <a:pt x="139" y="9"/>
                    <a:pt x="139" y="8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3" y="3"/>
                    <a:pt x="143" y="3"/>
                    <a:pt x="143" y="3"/>
                  </a:cubicBezTo>
                  <a:cubicBezTo>
                    <a:pt x="151" y="7"/>
                    <a:pt x="151" y="7"/>
                    <a:pt x="151" y="7"/>
                  </a:cubicBezTo>
                  <a:cubicBezTo>
                    <a:pt x="149" y="15"/>
                    <a:pt x="149" y="15"/>
                    <a:pt x="149" y="15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3" y="15"/>
                    <a:pt x="143" y="15"/>
                    <a:pt x="143" y="15"/>
                  </a:cubicBezTo>
                  <a:cubicBezTo>
                    <a:pt x="139" y="17"/>
                    <a:pt x="117" y="30"/>
                    <a:pt x="95" y="39"/>
                  </a:cubicBezTo>
                  <a:cubicBezTo>
                    <a:pt x="68" y="49"/>
                    <a:pt x="35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2" y="56"/>
                    <a:pt x="30" y="55"/>
                    <a:pt x="30" y="53"/>
                  </a:cubicBezTo>
                  <a:cubicBezTo>
                    <a:pt x="29" y="51"/>
                    <a:pt x="31" y="49"/>
                    <a:pt x="33" y="48"/>
                  </a:cubicBezTo>
                  <a:cubicBezTo>
                    <a:pt x="33" y="48"/>
                    <a:pt x="66" y="42"/>
                    <a:pt x="92" y="32"/>
                  </a:cubicBezTo>
                  <a:close/>
                  <a:moveTo>
                    <a:pt x="178" y="147"/>
                  </a:moveTo>
                  <a:cubicBezTo>
                    <a:pt x="172" y="153"/>
                    <a:pt x="172" y="153"/>
                    <a:pt x="172" y="153"/>
                  </a:cubicBezTo>
                  <a:cubicBezTo>
                    <a:pt x="167" y="160"/>
                    <a:pt x="167" y="160"/>
                    <a:pt x="167" y="160"/>
                  </a:cubicBezTo>
                  <a:cubicBezTo>
                    <a:pt x="167" y="150"/>
                    <a:pt x="167" y="150"/>
                    <a:pt x="167" y="150"/>
                  </a:cubicBezTo>
                  <a:cubicBezTo>
                    <a:pt x="15" y="150"/>
                    <a:pt x="15" y="150"/>
                    <a:pt x="15" y="150"/>
                  </a:cubicBezTo>
                  <a:cubicBezTo>
                    <a:pt x="13" y="150"/>
                    <a:pt x="11" y="149"/>
                    <a:pt x="11" y="147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143"/>
                    <a:pt x="19" y="143"/>
                    <a:pt x="19" y="143"/>
                  </a:cubicBezTo>
                  <a:cubicBezTo>
                    <a:pt x="167" y="143"/>
                    <a:pt x="167" y="143"/>
                    <a:pt x="167" y="143"/>
                  </a:cubicBezTo>
                  <a:cubicBezTo>
                    <a:pt x="167" y="134"/>
                    <a:pt x="167" y="134"/>
                    <a:pt x="167" y="134"/>
                  </a:cubicBezTo>
                  <a:cubicBezTo>
                    <a:pt x="172" y="140"/>
                    <a:pt x="172" y="140"/>
                    <a:pt x="172" y="140"/>
                  </a:cubicBezTo>
                  <a:lnTo>
                    <a:pt x="178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39"/>
            <p:cNvSpPr>
              <a:spLocks noEditPoints="1"/>
            </p:cNvSpPr>
            <p:nvPr/>
          </p:nvSpPr>
          <p:spPr bwMode="auto">
            <a:xfrm>
              <a:off x="6299200" y="1460500"/>
              <a:ext cx="587375" cy="728663"/>
            </a:xfrm>
            <a:custGeom>
              <a:avLst/>
              <a:gdLst>
                <a:gd name="T0" fmla="*/ 2147483646 w 174"/>
                <a:gd name="T1" fmla="*/ 2147483646 h 204"/>
                <a:gd name="T2" fmla="*/ 2147483646 w 174"/>
                <a:gd name="T3" fmla="*/ 2147483646 h 204"/>
                <a:gd name="T4" fmla="*/ 2147483646 w 174"/>
                <a:gd name="T5" fmla="*/ 2147483646 h 204"/>
                <a:gd name="T6" fmla="*/ 2147483646 w 174"/>
                <a:gd name="T7" fmla="*/ 2147483646 h 204"/>
                <a:gd name="T8" fmla="*/ 2147483646 w 174"/>
                <a:gd name="T9" fmla="*/ 2147483646 h 204"/>
                <a:gd name="T10" fmla="*/ 2147483646 w 174"/>
                <a:gd name="T11" fmla="*/ 2147483646 h 204"/>
                <a:gd name="T12" fmla="*/ 2147483646 w 174"/>
                <a:gd name="T13" fmla="*/ 2147483646 h 204"/>
                <a:gd name="T14" fmla="*/ 2147483646 w 174"/>
                <a:gd name="T15" fmla="*/ 2147483646 h 204"/>
                <a:gd name="T16" fmla="*/ 2147483646 w 174"/>
                <a:gd name="T17" fmla="*/ 2147483646 h 204"/>
                <a:gd name="T18" fmla="*/ 2147483646 w 174"/>
                <a:gd name="T19" fmla="*/ 2147483646 h 204"/>
                <a:gd name="T20" fmla="*/ 2147483646 w 174"/>
                <a:gd name="T21" fmla="*/ 2147483646 h 204"/>
                <a:gd name="T22" fmla="*/ 2147483646 w 174"/>
                <a:gd name="T23" fmla="*/ 2147483646 h 204"/>
                <a:gd name="T24" fmla="*/ 2147483646 w 174"/>
                <a:gd name="T25" fmla="*/ 2147483646 h 204"/>
                <a:gd name="T26" fmla="*/ 2147483646 w 174"/>
                <a:gd name="T27" fmla="*/ 2147483646 h 204"/>
                <a:gd name="T28" fmla="*/ 2147483646 w 174"/>
                <a:gd name="T29" fmla="*/ 2147483646 h 204"/>
                <a:gd name="T30" fmla="*/ 2147483646 w 174"/>
                <a:gd name="T31" fmla="*/ 2147483646 h 204"/>
                <a:gd name="T32" fmla="*/ 2147483646 w 174"/>
                <a:gd name="T33" fmla="*/ 2147483646 h 204"/>
                <a:gd name="T34" fmla="*/ 2147483646 w 174"/>
                <a:gd name="T35" fmla="*/ 2147483646 h 204"/>
                <a:gd name="T36" fmla="*/ 2147483646 w 174"/>
                <a:gd name="T37" fmla="*/ 2147483646 h 204"/>
                <a:gd name="T38" fmla="*/ 2147483646 w 174"/>
                <a:gd name="T39" fmla="*/ 2147483646 h 204"/>
                <a:gd name="T40" fmla="*/ 2147483646 w 174"/>
                <a:gd name="T41" fmla="*/ 2147483646 h 204"/>
                <a:gd name="T42" fmla="*/ 2147483646 w 174"/>
                <a:gd name="T43" fmla="*/ 2147483646 h 204"/>
                <a:gd name="T44" fmla="*/ 2147483646 w 174"/>
                <a:gd name="T45" fmla="*/ 2147483646 h 204"/>
                <a:gd name="T46" fmla="*/ 0 w 174"/>
                <a:gd name="T47" fmla="*/ 2147483646 h 204"/>
                <a:gd name="T48" fmla="*/ 2147483646 w 174"/>
                <a:gd name="T49" fmla="*/ 2147483646 h 204"/>
                <a:gd name="T50" fmla="*/ 2147483646 w 174"/>
                <a:gd name="T51" fmla="*/ 2147483646 h 204"/>
                <a:gd name="T52" fmla="*/ 2147483646 w 174"/>
                <a:gd name="T53" fmla="*/ 2147483646 h 204"/>
                <a:gd name="T54" fmla="*/ 2147483646 w 174"/>
                <a:gd name="T55" fmla="*/ 2147483646 h 204"/>
                <a:gd name="T56" fmla="*/ 2147483646 w 174"/>
                <a:gd name="T57" fmla="*/ 2147483646 h 204"/>
                <a:gd name="T58" fmla="*/ 2147483646 w 174"/>
                <a:gd name="T59" fmla="*/ 2147483646 h 204"/>
                <a:gd name="T60" fmla="*/ 2147483646 w 174"/>
                <a:gd name="T61" fmla="*/ 2147483646 h 204"/>
                <a:gd name="T62" fmla="*/ 2147483646 w 174"/>
                <a:gd name="T63" fmla="*/ 2147483646 h 204"/>
                <a:gd name="T64" fmla="*/ 2147483646 w 174"/>
                <a:gd name="T65" fmla="*/ 2147483646 h 204"/>
                <a:gd name="T66" fmla="*/ 2147483646 w 174"/>
                <a:gd name="T67" fmla="*/ 2147483646 h 204"/>
                <a:gd name="T68" fmla="*/ 2147483646 w 174"/>
                <a:gd name="T69" fmla="*/ 2147483646 h 204"/>
                <a:gd name="T70" fmla="*/ 2147483646 w 174"/>
                <a:gd name="T71" fmla="*/ 2147483646 h 204"/>
                <a:gd name="T72" fmla="*/ 2147483646 w 174"/>
                <a:gd name="T73" fmla="*/ 2147483646 h 204"/>
                <a:gd name="T74" fmla="*/ 2147483646 w 174"/>
                <a:gd name="T75" fmla="*/ 2147483646 h 204"/>
                <a:gd name="T76" fmla="*/ 2147483646 w 174"/>
                <a:gd name="T77" fmla="*/ 2147483646 h 204"/>
                <a:gd name="T78" fmla="*/ 2147483646 w 174"/>
                <a:gd name="T79" fmla="*/ 2147483646 h 204"/>
                <a:gd name="T80" fmla="*/ 2147483646 w 174"/>
                <a:gd name="T81" fmla="*/ 2147483646 h 204"/>
                <a:gd name="T82" fmla="*/ 2147483646 w 174"/>
                <a:gd name="T83" fmla="*/ 2147483646 h 204"/>
                <a:gd name="T84" fmla="*/ 2147483646 w 174"/>
                <a:gd name="T85" fmla="*/ 2147483646 h 204"/>
                <a:gd name="T86" fmla="*/ 2147483646 w 174"/>
                <a:gd name="T87" fmla="*/ 0 h 204"/>
                <a:gd name="T88" fmla="*/ 2147483646 w 174"/>
                <a:gd name="T89" fmla="*/ 2147483646 h 20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74" h="204">
                  <a:moveTo>
                    <a:pt x="100" y="204"/>
                  </a:moveTo>
                  <a:cubicBezTo>
                    <a:pt x="72" y="204"/>
                    <a:pt x="72" y="204"/>
                    <a:pt x="72" y="204"/>
                  </a:cubicBezTo>
                  <a:cubicBezTo>
                    <a:pt x="69" y="204"/>
                    <a:pt x="68" y="202"/>
                    <a:pt x="68" y="200"/>
                  </a:cubicBezTo>
                  <a:cubicBezTo>
                    <a:pt x="68" y="198"/>
                    <a:pt x="69" y="196"/>
                    <a:pt x="72" y="196"/>
                  </a:cubicBezTo>
                  <a:cubicBezTo>
                    <a:pt x="100" y="196"/>
                    <a:pt x="100" y="196"/>
                    <a:pt x="100" y="196"/>
                  </a:cubicBezTo>
                  <a:cubicBezTo>
                    <a:pt x="102" y="196"/>
                    <a:pt x="104" y="198"/>
                    <a:pt x="104" y="200"/>
                  </a:cubicBezTo>
                  <a:cubicBezTo>
                    <a:pt x="104" y="202"/>
                    <a:pt x="102" y="204"/>
                    <a:pt x="100" y="204"/>
                  </a:cubicBezTo>
                  <a:close/>
                  <a:moveTo>
                    <a:pt x="108" y="191"/>
                  </a:moveTo>
                  <a:cubicBezTo>
                    <a:pt x="64" y="191"/>
                    <a:pt x="64" y="191"/>
                    <a:pt x="64" y="191"/>
                  </a:cubicBezTo>
                  <a:cubicBezTo>
                    <a:pt x="61" y="191"/>
                    <a:pt x="60" y="189"/>
                    <a:pt x="60" y="187"/>
                  </a:cubicBezTo>
                  <a:cubicBezTo>
                    <a:pt x="60" y="185"/>
                    <a:pt x="61" y="183"/>
                    <a:pt x="64" y="183"/>
                  </a:cubicBezTo>
                  <a:cubicBezTo>
                    <a:pt x="108" y="183"/>
                    <a:pt x="108" y="183"/>
                    <a:pt x="108" y="183"/>
                  </a:cubicBezTo>
                  <a:cubicBezTo>
                    <a:pt x="110" y="183"/>
                    <a:pt x="112" y="185"/>
                    <a:pt x="112" y="187"/>
                  </a:cubicBezTo>
                  <a:cubicBezTo>
                    <a:pt x="112" y="189"/>
                    <a:pt x="110" y="191"/>
                    <a:pt x="108" y="191"/>
                  </a:cubicBezTo>
                  <a:close/>
                  <a:moveTo>
                    <a:pt x="85" y="177"/>
                  </a:moveTo>
                  <a:cubicBezTo>
                    <a:pt x="77" y="177"/>
                    <a:pt x="69" y="177"/>
                    <a:pt x="68" y="177"/>
                  </a:cubicBezTo>
                  <a:cubicBezTo>
                    <a:pt x="68" y="177"/>
                    <a:pt x="68" y="177"/>
                    <a:pt x="68" y="177"/>
                  </a:cubicBezTo>
                  <a:cubicBezTo>
                    <a:pt x="61" y="176"/>
                    <a:pt x="57" y="174"/>
                    <a:pt x="55" y="167"/>
                  </a:cubicBezTo>
                  <a:cubicBezTo>
                    <a:pt x="55" y="164"/>
                    <a:pt x="55" y="161"/>
                    <a:pt x="55" y="158"/>
                  </a:cubicBezTo>
                  <a:cubicBezTo>
                    <a:pt x="54" y="154"/>
                    <a:pt x="54" y="150"/>
                    <a:pt x="53" y="147"/>
                  </a:cubicBezTo>
                  <a:cubicBezTo>
                    <a:pt x="47" y="137"/>
                    <a:pt x="43" y="129"/>
                    <a:pt x="37" y="118"/>
                  </a:cubicBezTo>
                  <a:cubicBezTo>
                    <a:pt x="31" y="107"/>
                    <a:pt x="25" y="91"/>
                    <a:pt x="29" y="75"/>
                  </a:cubicBezTo>
                  <a:cubicBezTo>
                    <a:pt x="34" y="56"/>
                    <a:pt x="55" y="36"/>
                    <a:pt x="85" y="36"/>
                  </a:cubicBezTo>
                  <a:cubicBezTo>
                    <a:pt x="115" y="36"/>
                    <a:pt x="136" y="56"/>
                    <a:pt x="141" y="75"/>
                  </a:cubicBezTo>
                  <a:cubicBezTo>
                    <a:pt x="145" y="91"/>
                    <a:pt x="139" y="107"/>
                    <a:pt x="133" y="118"/>
                  </a:cubicBezTo>
                  <a:cubicBezTo>
                    <a:pt x="127" y="129"/>
                    <a:pt x="124" y="137"/>
                    <a:pt x="118" y="147"/>
                  </a:cubicBezTo>
                  <a:cubicBezTo>
                    <a:pt x="116" y="150"/>
                    <a:pt x="116" y="154"/>
                    <a:pt x="116" y="158"/>
                  </a:cubicBezTo>
                  <a:cubicBezTo>
                    <a:pt x="116" y="161"/>
                    <a:pt x="115" y="164"/>
                    <a:pt x="115" y="167"/>
                  </a:cubicBezTo>
                  <a:cubicBezTo>
                    <a:pt x="113" y="174"/>
                    <a:pt x="110" y="176"/>
                    <a:pt x="102" y="177"/>
                  </a:cubicBezTo>
                  <a:cubicBezTo>
                    <a:pt x="102" y="177"/>
                    <a:pt x="93" y="177"/>
                    <a:pt x="85" y="177"/>
                  </a:cubicBezTo>
                  <a:close/>
                  <a:moveTo>
                    <a:pt x="68" y="169"/>
                  </a:moveTo>
                  <a:cubicBezTo>
                    <a:pt x="69" y="169"/>
                    <a:pt x="101" y="169"/>
                    <a:pt x="102" y="169"/>
                  </a:cubicBezTo>
                  <a:cubicBezTo>
                    <a:pt x="107" y="169"/>
                    <a:pt x="107" y="168"/>
                    <a:pt x="107" y="165"/>
                  </a:cubicBezTo>
                  <a:cubicBezTo>
                    <a:pt x="108" y="163"/>
                    <a:pt x="108" y="160"/>
                    <a:pt x="108" y="158"/>
                  </a:cubicBezTo>
                  <a:cubicBezTo>
                    <a:pt x="108" y="153"/>
                    <a:pt x="108" y="148"/>
                    <a:pt x="111" y="144"/>
                  </a:cubicBezTo>
                  <a:cubicBezTo>
                    <a:pt x="117" y="133"/>
                    <a:pt x="121" y="126"/>
                    <a:pt x="126" y="115"/>
                  </a:cubicBezTo>
                  <a:cubicBezTo>
                    <a:pt x="131" y="107"/>
                    <a:pt x="137" y="91"/>
                    <a:pt x="133" y="77"/>
                  </a:cubicBezTo>
                  <a:cubicBezTo>
                    <a:pt x="129" y="61"/>
                    <a:pt x="111" y="44"/>
                    <a:pt x="85" y="44"/>
                  </a:cubicBezTo>
                  <a:cubicBezTo>
                    <a:pt x="59" y="44"/>
                    <a:pt x="41" y="61"/>
                    <a:pt x="37" y="77"/>
                  </a:cubicBezTo>
                  <a:cubicBezTo>
                    <a:pt x="33" y="91"/>
                    <a:pt x="40" y="107"/>
                    <a:pt x="44" y="115"/>
                  </a:cubicBezTo>
                  <a:cubicBezTo>
                    <a:pt x="49" y="126"/>
                    <a:pt x="53" y="133"/>
                    <a:pt x="59" y="144"/>
                  </a:cubicBezTo>
                  <a:cubicBezTo>
                    <a:pt x="62" y="148"/>
                    <a:pt x="62" y="153"/>
                    <a:pt x="62" y="158"/>
                  </a:cubicBezTo>
                  <a:cubicBezTo>
                    <a:pt x="62" y="160"/>
                    <a:pt x="62" y="163"/>
                    <a:pt x="63" y="165"/>
                  </a:cubicBezTo>
                  <a:cubicBezTo>
                    <a:pt x="64" y="168"/>
                    <a:pt x="64" y="169"/>
                    <a:pt x="68" y="169"/>
                  </a:cubicBezTo>
                  <a:cubicBezTo>
                    <a:pt x="68" y="169"/>
                    <a:pt x="68" y="169"/>
                    <a:pt x="68" y="169"/>
                  </a:cubicBezTo>
                  <a:close/>
                  <a:moveTo>
                    <a:pt x="18" y="94"/>
                  </a:moveTo>
                  <a:cubicBezTo>
                    <a:pt x="3" y="94"/>
                    <a:pt x="3" y="94"/>
                    <a:pt x="3" y="94"/>
                  </a:cubicBezTo>
                  <a:cubicBezTo>
                    <a:pt x="1" y="94"/>
                    <a:pt x="0" y="92"/>
                    <a:pt x="0" y="90"/>
                  </a:cubicBezTo>
                  <a:cubicBezTo>
                    <a:pt x="0" y="88"/>
                    <a:pt x="1" y="86"/>
                    <a:pt x="3" y="86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20" y="86"/>
                    <a:pt x="22" y="88"/>
                    <a:pt x="22" y="90"/>
                  </a:cubicBezTo>
                  <a:cubicBezTo>
                    <a:pt x="22" y="92"/>
                    <a:pt x="20" y="94"/>
                    <a:pt x="18" y="94"/>
                  </a:cubicBezTo>
                  <a:close/>
                  <a:moveTo>
                    <a:pt x="170" y="91"/>
                  </a:moveTo>
                  <a:cubicBezTo>
                    <a:pt x="152" y="91"/>
                    <a:pt x="152" y="91"/>
                    <a:pt x="152" y="91"/>
                  </a:cubicBezTo>
                  <a:cubicBezTo>
                    <a:pt x="150" y="91"/>
                    <a:pt x="148" y="89"/>
                    <a:pt x="148" y="87"/>
                  </a:cubicBezTo>
                  <a:cubicBezTo>
                    <a:pt x="148" y="85"/>
                    <a:pt x="150" y="83"/>
                    <a:pt x="152" y="83"/>
                  </a:cubicBezTo>
                  <a:cubicBezTo>
                    <a:pt x="170" y="83"/>
                    <a:pt x="170" y="83"/>
                    <a:pt x="170" y="83"/>
                  </a:cubicBezTo>
                  <a:cubicBezTo>
                    <a:pt x="172" y="83"/>
                    <a:pt x="174" y="85"/>
                    <a:pt x="174" y="87"/>
                  </a:cubicBezTo>
                  <a:cubicBezTo>
                    <a:pt x="174" y="89"/>
                    <a:pt x="172" y="91"/>
                    <a:pt x="170" y="91"/>
                  </a:cubicBezTo>
                  <a:close/>
                  <a:moveTo>
                    <a:pt x="51" y="88"/>
                  </a:moveTo>
                  <a:cubicBezTo>
                    <a:pt x="51" y="88"/>
                    <a:pt x="50" y="88"/>
                    <a:pt x="50" y="88"/>
                  </a:cubicBezTo>
                  <a:cubicBezTo>
                    <a:pt x="48" y="87"/>
                    <a:pt x="47" y="85"/>
                    <a:pt x="47" y="83"/>
                  </a:cubicBezTo>
                  <a:cubicBezTo>
                    <a:pt x="51" y="69"/>
                    <a:pt x="66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9" y="55"/>
                    <a:pt x="91" y="57"/>
                    <a:pt x="91" y="59"/>
                  </a:cubicBezTo>
                  <a:cubicBezTo>
                    <a:pt x="91" y="61"/>
                    <a:pt x="89" y="62"/>
                    <a:pt x="87" y="62"/>
                  </a:cubicBezTo>
                  <a:cubicBezTo>
                    <a:pt x="70" y="62"/>
                    <a:pt x="57" y="74"/>
                    <a:pt x="55" y="85"/>
                  </a:cubicBezTo>
                  <a:cubicBezTo>
                    <a:pt x="54" y="87"/>
                    <a:pt x="53" y="88"/>
                    <a:pt x="51" y="88"/>
                  </a:cubicBezTo>
                  <a:close/>
                  <a:moveTo>
                    <a:pt x="134" y="46"/>
                  </a:moveTo>
                  <a:cubicBezTo>
                    <a:pt x="133" y="46"/>
                    <a:pt x="132" y="46"/>
                    <a:pt x="131" y="45"/>
                  </a:cubicBezTo>
                  <a:cubicBezTo>
                    <a:pt x="130" y="43"/>
                    <a:pt x="130" y="41"/>
                    <a:pt x="131" y="40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5" y="25"/>
                    <a:pt x="148" y="25"/>
                    <a:pt x="149" y="27"/>
                  </a:cubicBezTo>
                  <a:cubicBezTo>
                    <a:pt x="151" y="28"/>
                    <a:pt x="151" y="31"/>
                    <a:pt x="149" y="32"/>
                  </a:cubicBezTo>
                  <a:cubicBezTo>
                    <a:pt x="136" y="45"/>
                    <a:pt x="136" y="45"/>
                    <a:pt x="136" y="45"/>
                  </a:cubicBezTo>
                  <a:cubicBezTo>
                    <a:pt x="136" y="46"/>
                    <a:pt x="135" y="46"/>
                    <a:pt x="134" y="46"/>
                  </a:cubicBezTo>
                  <a:close/>
                  <a:moveTo>
                    <a:pt x="37" y="46"/>
                  </a:moveTo>
                  <a:cubicBezTo>
                    <a:pt x="36" y="46"/>
                    <a:pt x="35" y="46"/>
                    <a:pt x="35" y="45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1"/>
                    <a:pt x="20" y="28"/>
                    <a:pt x="22" y="27"/>
                  </a:cubicBezTo>
                  <a:cubicBezTo>
                    <a:pt x="23" y="25"/>
                    <a:pt x="26" y="25"/>
                    <a:pt x="27" y="27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2" y="41"/>
                    <a:pt x="42" y="43"/>
                    <a:pt x="40" y="45"/>
                  </a:cubicBezTo>
                  <a:cubicBezTo>
                    <a:pt x="39" y="46"/>
                    <a:pt x="38" y="46"/>
                    <a:pt x="37" y="46"/>
                  </a:cubicBezTo>
                  <a:close/>
                  <a:moveTo>
                    <a:pt x="85" y="29"/>
                  </a:moveTo>
                  <a:cubicBezTo>
                    <a:pt x="83" y="29"/>
                    <a:pt x="81" y="27"/>
                    <a:pt x="81" y="25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1" y="2"/>
                    <a:pt x="83" y="0"/>
                    <a:pt x="85" y="0"/>
                  </a:cubicBezTo>
                  <a:cubicBezTo>
                    <a:pt x="87" y="0"/>
                    <a:pt x="89" y="2"/>
                    <a:pt x="89" y="4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9" y="27"/>
                    <a:pt x="87" y="29"/>
                    <a:pt x="85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40"/>
            <p:cNvSpPr>
              <a:spLocks noEditPoints="1"/>
            </p:cNvSpPr>
            <p:nvPr/>
          </p:nvSpPr>
          <p:spPr bwMode="auto">
            <a:xfrm>
              <a:off x="6959600" y="4633913"/>
              <a:ext cx="584200" cy="622300"/>
            </a:xfrm>
            <a:custGeom>
              <a:avLst/>
              <a:gdLst>
                <a:gd name="T0" fmla="*/ 2147483646 w 173"/>
                <a:gd name="T1" fmla="*/ 2147483646 h 174"/>
                <a:gd name="T2" fmla="*/ 2147483646 w 173"/>
                <a:gd name="T3" fmla="*/ 2147483646 h 174"/>
                <a:gd name="T4" fmla="*/ 2147483646 w 173"/>
                <a:gd name="T5" fmla="*/ 2147483646 h 174"/>
                <a:gd name="T6" fmla="*/ 2147483646 w 173"/>
                <a:gd name="T7" fmla="*/ 2147483646 h 174"/>
                <a:gd name="T8" fmla="*/ 2147483646 w 173"/>
                <a:gd name="T9" fmla="*/ 2147483646 h 174"/>
                <a:gd name="T10" fmla="*/ 0 w 173"/>
                <a:gd name="T11" fmla="*/ 2147483646 h 174"/>
                <a:gd name="T12" fmla="*/ 2147483646 w 173"/>
                <a:gd name="T13" fmla="*/ 2147483646 h 174"/>
                <a:gd name="T14" fmla="*/ 2147483646 w 173"/>
                <a:gd name="T15" fmla="*/ 2147483646 h 174"/>
                <a:gd name="T16" fmla="*/ 2147483646 w 173"/>
                <a:gd name="T17" fmla="*/ 2147483646 h 174"/>
                <a:gd name="T18" fmla="*/ 2147483646 w 173"/>
                <a:gd name="T19" fmla="*/ 2147483646 h 174"/>
                <a:gd name="T20" fmla="*/ 2147483646 w 173"/>
                <a:gd name="T21" fmla="*/ 0 h 174"/>
                <a:gd name="T22" fmla="*/ 2147483646 w 173"/>
                <a:gd name="T23" fmla="*/ 2147483646 h 174"/>
                <a:gd name="T24" fmla="*/ 2147483646 w 173"/>
                <a:gd name="T25" fmla="*/ 2147483646 h 174"/>
                <a:gd name="T26" fmla="*/ 2147483646 w 173"/>
                <a:gd name="T27" fmla="*/ 2147483646 h 174"/>
                <a:gd name="T28" fmla="*/ 2147483646 w 173"/>
                <a:gd name="T29" fmla="*/ 2147483646 h 174"/>
                <a:gd name="T30" fmla="*/ 2147483646 w 173"/>
                <a:gd name="T31" fmla="*/ 2147483646 h 174"/>
                <a:gd name="T32" fmla="*/ 2147483646 w 173"/>
                <a:gd name="T33" fmla="*/ 2147483646 h 174"/>
                <a:gd name="T34" fmla="*/ 2147483646 w 173"/>
                <a:gd name="T35" fmla="*/ 2147483646 h 174"/>
                <a:gd name="T36" fmla="*/ 2147483646 w 173"/>
                <a:gd name="T37" fmla="*/ 2147483646 h 174"/>
                <a:gd name="T38" fmla="*/ 2147483646 w 173"/>
                <a:gd name="T39" fmla="*/ 2147483646 h 174"/>
                <a:gd name="T40" fmla="*/ 2147483646 w 173"/>
                <a:gd name="T41" fmla="*/ 2147483646 h 174"/>
                <a:gd name="T42" fmla="*/ 2147483646 w 173"/>
                <a:gd name="T43" fmla="*/ 2147483646 h 174"/>
                <a:gd name="T44" fmla="*/ 2147483646 w 173"/>
                <a:gd name="T45" fmla="*/ 2147483646 h 174"/>
                <a:gd name="T46" fmla="*/ 2147483646 w 173"/>
                <a:gd name="T47" fmla="*/ 2147483646 h 174"/>
                <a:gd name="T48" fmla="*/ 2147483646 w 173"/>
                <a:gd name="T49" fmla="*/ 2147483646 h 174"/>
                <a:gd name="T50" fmla="*/ 2147483646 w 173"/>
                <a:gd name="T51" fmla="*/ 2147483646 h 174"/>
                <a:gd name="T52" fmla="*/ 2147483646 w 173"/>
                <a:gd name="T53" fmla="*/ 2147483646 h 174"/>
                <a:gd name="T54" fmla="*/ 2147483646 w 173"/>
                <a:gd name="T55" fmla="*/ 2147483646 h 174"/>
                <a:gd name="T56" fmla="*/ 2147483646 w 173"/>
                <a:gd name="T57" fmla="*/ 2147483646 h 174"/>
                <a:gd name="T58" fmla="*/ 2147483646 w 173"/>
                <a:gd name="T59" fmla="*/ 2147483646 h 174"/>
                <a:gd name="T60" fmla="*/ 2147483646 w 173"/>
                <a:gd name="T61" fmla="*/ 2147483646 h 174"/>
                <a:gd name="T62" fmla="*/ 2147483646 w 173"/>
                <a:gd name="T63" fmla="*/ 2147483646 h 174"/>
                <a:gd name="T64" fmla="*/ 2147483646 w 173"/>
                <a:gd name="T65" fmla="*/ 2147483646 h 174"/>
                <a:gd name="T66" fmla="*/ 2147483646 w 173"/>
                <a:gd name="T67" fmla="*/ 2147483646 h 174"/>
                <a:gd name="T68" fmla="*/ 2147483646 w 173"/>
                <a:gd name="T69" fmla="*/ 2147483646 h 174"/>
                <a:gd name="T70" fmla="*/ 2147483646 w 173"/>
                <a:gd name="T71" fmla="*/ 2147483646 h 174"/>
                <a:gd name="T72" fmla="*/ 2147483646 w 173"/>
                <a:gd name="T73" fmla="*/ 2147483646 h 174"/>
                <a:gd name="T74" fmla="*/ 2147483646 w 173"/>
                <a:gd name="T75" fmla="*/ 2147483646 h 174"/>
                <a:gd name="T76" fmla="*/ 2147483646 w 173"/>
                <a:gd name="T77" fmla="*/ 2147483646 h 174"/>
                <a:gd name="T78" fmla="*/ 2147483646 w 173"/>
                <a:gd name="T79" fmla="*/ 2147483646 h 174"/>
                <a:gd name="T80" fmla="*/ 2147483646 w 173"/>
                <a:gd name="T81" fmla="*/ 2147483646 h 174"/>
                <a:gd name="T82" fmla="*/ 2147483646 w 173"/>
                <a:gd name="T83" fmla="*/ 2147483646 h 174"/>
                <a:gd name="T84" fmla="*/ 2147483646 w 173"/>
                <a:gd name="T85" fmla="*/ 2147483646 h 174"/>
                <a:gd name="T86" fmla="*/ 2147483646 w 173"/>
                <a:gd name="T87" fmla="*/ 2147483646 h 174"/>
                <a:gd name="T88" fmla="*/ 2147483646 w 173"/>
                <a:gd name="T89" fmla="*/ 2147483646 h 174"/>
                <a:gd name="T90" fmla="*/ 2147483646 w 173"/>
                <a:gd name="T91" fmla="*/ 2147483646 h 174"/>
                <a:gd name="T92" fmla="*/ 2147483646 w 173"/>
                <a:gd name="T93" fmla="*/ 2147483646 h 174"/>
                <a:gd name="T94" fmla="*/ 2147483646 w 173"/>
                <a:gd name="T95" fmla="*/ 2147483646 h 174"/>
                <a:gd name="T96" fmla="*/ 2147483646 w 173"/>
                <a:gd name="T97" fmla="*/ 2147483646 h 174"/>
                <a:gd name="T98" fmla="*/ 2147483646 w 173"/>
                <a:gd name="T99" fmla="*/ 2147483646 h 17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73" h="174">
                  <a:moveTo>
                    <a:pt x="95" y="174"/>
                  </a:moveTo>
                  <a:cubicBezTo>
                    <a:pt x="78" y="174"/>
                    <a:pt x="78" y="174"/>
                    <a:pt x="78" y="174"/>
                  </a:cubicBezTo>
                  <a:cubicBezTo>
                    <a:pt x="74" y="174"/>
                    <a:pt x="71" y="171"/>
                    <a:pt x="71" y="168"/>
                  </a:cubicBezTo>
                  <a:cubicBezTo>
                    <a:pt x="68" y="151"/>
                    <a:pt x="68" y="151"/>
                    <a:pt x="68" y="151"/>
                  </a:cubicBezTo>
                  <a:cubicBezTo>
                    <a:pt x="68" y="150"/>
                    <a:pt x="67" y="149"/>
                    <a:pt x="67" y="149"/>
                  </a:cubicBezTo>
                  <a:cubicBezTo>
                    <a:pt x="63" y="148"/>
                    <a:pt x="60" y="147"/>
                    <a:pt x="57" y="145"/>
                  </a:cubicBezTo>
                  <a:cubicBezTo>
                    <a:pt x="56" y="145"/>
                    <a:pt x="55" y="145"/>
                    <a:pt x="55" y="145"/>
                  </a:cubicBezTo>
                  <a:cubicBezTo>
                    <a:pt x="41" y="155"/>
                    <a:pt x="41" y="155"/>
                    <a:pt x="41" y="155"/>
                  </a:cubicBezTo>
                  <a:cubicBezTo>
                    <a:pt x="38" y="157"/>
                    <a:pt x="34" y="157"/>
                    <a:pt x="31" y="155"/>
                  </a:cubicBezTo>
                  <a:cubicBezTo>
                    <a:pt x="19" y="143"/>
                    <a:pt x="19" y="143"/>
                    <a:pt x="19" y="143"/>
                  </a:cubicBezTo>
                  <a:cubicBezTo>
                    <a:pt x="17" y="140"/>
                    <a:pt x="16" y="136"/>
                    <a:pt x="18" y="133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29" y="118"/>
                    <a:pt x="29" y="118"/>
                    <a:pt x="29" y="117"/>
                  </a:cubicBezTo>
                  <a:cubicBezTo>
                    <a:pt x="27" y="114"/>
                    <a:pt x="26" y="110"/>
                    <a:pt x="25" y="107"/>
                  </a:cubicBezTo>
                  <a:cubicBezTo>
                    <a:pt x="24" y="106"/>
                    <a:pt x="24" y="106"/>
                    <a:pt x="23" y="106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2" y="103"/>
                    <a:pt x="0" y="99"/>
                    <a:pt x="0" y="9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5"/>
                    <a:pt x="2" y="72"/>
                    <a:pt x="6" y="71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4" y="69"/>
                    <a:pt x="24" y="68"/>
                    <a:pt x="25" y="67"/>
                  </a:cubicBezTo>
                  <a:cubicBezTo>
                    <a:pt x="26" y="64"/>
                    <a:pt x="27" y="61"/>
                    <a:pt x="29" y="57"/>
                  </a:cubicBezTo>
                  <a:cubicBezTo>
                    <a:pt x="29" y="57"/>
                    <a:pt x="29" y="56"/>
                    <a:pt x="29" y="55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39"/>
                    <a:pt x="17" y="34"/>
                    <a:pt x="19" y="32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4" y="17"/>
                    <a:pt x="38" y="17"/>
                    <a:pt x="41" y="19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5" y="30"/>
                    <a:pt x="56" y="30"/>
                    <a:pt x="57" y="29"/>
                  </a:cubicBezTo>
                  <a:cubicBezTo>
                    <a:pt x="60" y="28"/>
                    <a:pt x="63" y="26"/>
                    <a:pt x="67" y="25"/>
                  </a:cubicBezTo>
                  <a:cubicBezTo>
                    <a:pt x="67" y="25"/>
                    <a:pt x="68" y="24"/>
                    <a:pt x="68" y="24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3"/>
                    <a:pt x="74" y="0"/>
                    <a:pt x="78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9" y="0"/>
                    <a:pt x="102" y="3"/>
                    <a:pt x="102" y="7"/>
                  </a:cubicBezTo>
                  <a:cubicBezTo>
                    <a:pt x="105" y="24"/>
                    <a:pt x="105" y="24"/>
                    <a:pt x="105" y="24"/>
                  </a:cubicBezTo>
                  <a:cubicBezTo>
                    <a:pt x="105" y="24"/>
                    <a:pt x="106" y="25"/>
                    <a:pt x="106" y="25"/>
                  </a:cubicBezTo>
                  <a:cubicBezTo>
                    <a:pt x="110" y="26"/>
                    <a:pt x="113" y="28"/>
                    <a:pt x="116" y="29"/>
                  </a:cubicBezTo>
                  <a:cubicBezTo>
                    <a:pt x="117" y="30"/>
                    <a:pt x="118" y="30"/>
                    <a:pt x="118" y="29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5" y="17"/>
                    <a:pt x="139" y="17"/>
                    <a:pt x="142" y="20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6" y="34"/>
                    <a:pt x="157" y="39"/>
                    <a:pt x="155" y="42"/>
                  </a:cubicBezTo>
                  <a:cubicBezTo>
                    <a:pt x="144" y="55"/>
                    <a:pt x="144" y="55"/>
                    <a:pt x="144" y="55"/>
                  </a:cubicBezTo>
                  <a:cubicBezTo>
                    <a:pt x="144" y="56"/>
                    <a:pt x="144" y="57"/>
                    <a:pt x="144" y="57"/>
                  </a:cubicBezTo>
                  <a:cubicBezTo>
                    <a:pt x="146" y="61"/>
                    <a:pt x="147" y="64"/>
                    <a:pt x="148" y="67"/>
                  </a:cubicBezTo>
                  <a:cubicBezTo>
                    <a:pt x="149" y="68"/>
                    <a:pt x="149" y="69"/>
                    <a:pt x="150" y="69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67" y="71"/>
                    <a:pt x="167" y="71"/>
                    <a:pt x="167" y="71"/>
                  </a:cubicBezTo>
                  <a:cubicBezTo>
                    <a:pt x="170" y="72"/>
                    <a:pt x="173" y="75"/>
                    <a:pt x="173" y="79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9"/>
                    <a:pt x="170" y="103"/>
                    <a:pt x="167" y="103"/>
                  </a:cubicBezTo>
                  <a:cubicBezTo>
                    <a:pt x="150" y="106"/>
                    <a:pt x="150" y="106"/>
                    <a:pt x="150" y="106"/>
                  </a:cubicBezTo>
                  <a:cubicBezTo>
                    <a:pt x="149" y="106"/>
                    <a:pt x="149" y="106"/>
                    <a:pt x="148" y="107"/>
                  </a:cubicBezTo>
                  <a:cubicBezTo>
                    <a:pt x="147" y="110"/>
                    <a:pt x="146" y="114"/>
                    <a:pt x="144" y="117"/>
                  </a:cubicBezTo>
                  <a:cubicBezTo>
                    <a:pt x="144" y="118"/>
                    <a:pt x="144" y="118"/>
                    <a:pt x="144" y="119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57" y="136"/>
                    <a:pt x="156" y="140"/>
                    <a:pt x="154" y="143"/>
                  </a:cubicBezTo>
                  <a:cubicBezTo>
                    <a:pt x="142" y="154"/>
                    <a:pt x="142" y="154"/>
                    <a:pt x="142" y="154"/>
                  </a:cubicBezTo>
                  <a:cubicBezTo>
                    <a:pt x="139" y="157"/>
                    <a:pt x="135" y="157"/>
                    <a:pt x="132" y="155"/>
                  </a:cubicBezTo>
                  <a:cubicBezTo>
                    <a:pt x="118" y="145"/>
                    <a:pt x="118" y="145"/>
                    <a:pt x="118" y="145"/>
                  </a:cubicBezTo>
                  <a:cubicBezTo>
                    <a:pt x="118" y="145"/>
                    <a:pt x="117" y="145"/>
                    <a:pt x="116" y="145"/>
                  </a:cubicBezTo>
                  <a:cubicBezTo>
                    <a:pt x="113" y="147"/>
                    <a:pt x="110" y="148"/>
                    <a:pt x="106" y="149"/>
                  </a:cubicBezTo>
                  <a:cubicBezTo>
                    <a:pt x="106" y="149"/>
                    <a:pt x="105" y="150"/>
                    <a:pt x="105" y="151"/>
                  </a:cubicBezTo>
                  <a:cubicBezTo>
                    <a:pt x="102" y="168"/>
                    <a:pt x="102" y="168"/>
                    <a:pt x="102" y="168"/>
                  </a:cubicBezTo>
                  <a:cubicBezTo>
                    <a:pt x="102" y="171"/>
                    <a:pt x="99" y="174"/>
                    <a:pt x="95" y="174"/>
                  </a:cubicBezTo>
                  <a:close/>
                  <a:moveTo>
                    <a:pt x="78" y="166"/>
                  </a:moveTo>
                  <a:cubicBezTo>
                    <a:pt x="95" y="166"/>
                    <a:pt x="95" y="166"/>
                    <a:pt x="95" y="166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98" y="146"/>
                    <a:pt x="100" y="143"/>
                    <a:pt x="104" y="142"/>
                  </a:cubicBezTo>
                  <a:cubicBezTo>
                    <a:pt x="107" y="141"/>
                    <a:pt x="110" y="139"/>
                    <a:pt x="113" y="138"/>
                  </a:cubicBezTo>
                  <a:cubicBezTo>
                    <a:pt x="116" y="136"/>
                    <a:pt x="120" y="136"/>
                    <a:pt x="123" y="139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38" y="124"/>
                    <a:pt x="138" y="124"/>
                    <a:pt x="138" y="124"/>
                  </a:cubicBezTo>
                  <a:cubicBezTo>
                    <a:pt x="136" y="121"/>
                    <a:pt x="135" y="117"/>
                    <a:pt x="137" y="113"/>
                  </a:cubicBezTo>
                  <a:cubicBezTo>
                    <a:pt x="139" y="110"/>
                    <a:pt x="140" y="108"/>
                    <a:pt x="141" y="105"/>
                  </a:cubicBezTo>
                  <a:cubicBezTo>
                    <a:pt x="142" y="101"/>
                    <a:pt x="145" y="98"/>
                    <a:pt x="149" y="98"/>
                  </a:cubicBezTo>
                  <a:cubicBezTo>
                    <a:pt x="165" y="95"/>
                    <a:pt x="165" y="95"/>
                    <a:pt x="165" y="95"/>
                  </a:cubicBezTo>
                  <a:cubicBezTo>
                    <a:pt x="165" y="79"/>
                    <a:pt x="165" y="79"/>
                    <a:pt x="165" y="79"/>
                  </a:cubicBezTo>
                  <a:cubicBezTo>
                    <a:pt x="149" y="76"/>
                    <a:pt x="149" y="76"/>
                    <a:pt x="149" y="76"/>
                  </a:cubicBezTo>
                  <a:cubicBezTo>
                    <a:pt x="145" y="76"/>
                    <a:pt x="142" y="73"/>
                    <a:pt x="141" y="70"/>
                  </a:cubicBezTo>
                  <a:cubicBezTo>
                    <a:pt x="140" y="67"/>
                    <a:pt x="139" y="64"/>
                    <a:pt x="137" y="61"/>
                  </a:cubicBezTo>
                  <a:cubicBezTo>
                    <a:pt x="135" y="58"/>
                    <a:pt x="136" y="54"/>
                    <a:pt x="138" y="51"/>
                  </a:cubicBezTo>
                  <a:cubicBezTo>
                    <a:pt x="148" y="37"/>
                    <a:pt x="148" y="37"/>
                    <a:pt x="148" y="37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0" y="38"/>
                    <a:pt x="116" y="38"/>
                    <a:pt x="112" y="36"/>
                  </a:cubicBezTo>
                  <a:cubicBezTo>
                    <a:pt x="110" y="35"/>
                    <a:pt x="107" y="34"/>
                    <a:pt x="104" y="33"/>
                  </a:cubicBezTo>
                  <a:cubicBezTo>
                    <a:pt x="100" y="32"/>
                    <a:pt x="98" y="29"/>
                    <a:pt x="97" y="25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5" y="29"/>
                    <a:pt x="73" y="32"/>
                    <a:pt x="69" y="33"/>
                  </a:cubicBezTo>
                  <a:cubicBezTo>
                    <a:pt x="66" y="34"/>
                    <a:pt x="63" y="35"/>
                    <a:pt x="60" y="36"/>
                  </a:cubicBezTo>
                  <a:cubicBezTo>
                    <a:pt x="57" y="38"/>
                    <a:pt x="53" y="38"/>
                    <a:pt x="50" y="3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7" y="54"/>
                    <a:pt x="37" y="58"/>
                    <a:pt x="36" y="61"/>
                  </a:cubicBezTo>
                  <a:cubicBezTo>
                    <a:pt x="34" y="64"/>
                    <a:pt x="33" y="67"/>
                    <a:pt x="32" y="70"/>
                  </a:cubicBezTo>
                  <a:cubicBezTo>
                    <a:pt x="31" y="73"/>
                    <a:pt x="28" y="76"/>
                    <a:pt x="24" y="76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24" y="98"/>
                    <a:pt x="24" y="98"/>
                    <a:pt x="24" y="98"/>
                  </a:cubicBezTo>
                  <a:cubicBezTo>
                    <a:pt x="28" y="98"/>
                    <a:pt x="31" y="101"/>
                    <a:pt x="32" y="105"/>
                  </a:cubicBezTo>
                  <a:cubicBezTo>
                    <a:pt x="33" y="108"/>
                    <a:pt x="34" y="110"/>
                    <a:pt x="36" y="113"/>
                  </a:cubicBezTo>
                  <a:cubicBezTo>
                    <a:pt x="37" y="117"/>
                    <a:pt x="37" y="121"/>
                    <a:pt x="35" y="124"/>
                  </a:cubicBezTo>
                  <a:cubicBezTo>
                    <a:pt x="25" y="137"/>
                    <a:pt x="25" y="137"/>
                    <a:pt x="25" y="137"/>
                  </a:cubicBezTo>
                  <a:cubicBezTo>
                    <a:pt x="36" y="149"/>
                    <a:pt x="36" y="149"/>
                    <a:pt x="36" y="149"/>
                  </a:cubicBezTo>
                  <a:cubicBezTo>
                    <a:pt x="50" y="139"/>
                    <a:pt x="50" y="139"/>
                    <a:pt x="50" y="139"/>
                  </a:cubicBezTo>
                  <a:cubicBezTo>
                    <a:pt x="53" y="137"/>
                    <a:pt x="57" y="136"/>
                    <a:pt x="60" y="138"/>
                  </a:cubicBezTo>
                  <a:cubicBezTo>
                    <a:pt x="63" y="139"/>
                    <a:pt x="66" y="141"/>
                    <a:pt x="69" y="142"/>
                  </a:cubicBezTo>
                  <a:cubicBezTo>
                    <a:pt x="73" y="143"/>
                    <a:pt x="75" y="146"/>
                    <a:pt x="76" y="149"/>
                  </a:cubicBezTo>
                  <a:lnTo>
                    <a:pt x="78" y="166"/>
                  </a:lnTo>
                  <a:close/>
                  <a:moveTo>
                    <a:pt x="25" y="137"/>
                  </a:moveTo>
                  <a:cubicBezTo>
                    <a:pt x="25" y="137"/>
                    <a:pt x="25" y="137"/>
                    <a:pt x="25" y="137"/>
                  </a:cubicBezTo>
                  <a:close/>
                  <a:moveTo>
                    <a:pt x="148" y="137"/>
                  </a:moveTo>
                  <a:cubicBezTo>
                    <a:pt x="148" y="137"/>
                    <a:pt x="148" y="137"/>
                    <a:pt x="148" y="137"/>
                  </a:cubicBezTo>
                  <a:close/>
                  <a:moveTo>
                    <a:pt x="165" y="96"/>
                  </a:moveTo>
                  <a:cubicBezTo>
                    <a:pt x="165" y="96"/>
                    <a:pt x="165" y="96"/>
                    <a:pt x="165" y="96"/>
                  </a:cubicBezTo>
                  <a:close/>
                  <a:moveTo>
                    <a:pt x="8" y="96"/>
                  </a:moveTo>
                  <a:cubicBezTo>
                    <a:pt x="8" y="96"/>
                    <a:pt x="8" y="96"/>
                    <a:pt x="8" y="96"/>
                  </a:cubicBezTo>
                  <a:close/>
                  <a:moveTo>
                    <a:pt x="166" y="95"/>
                  </a:moveTo>
                  <a:cubicBezTo>
                    <a:pt x="166" y="95"/>
                    <a:pt x="166" y="95"/>
                    <a:pt x="166" y="95"/>
                  </a:cubicBezTo>
                  <a:close/>
                  <a:moveTo>
                    <a:pt x="7" y="95"/>
                  </a:moveTo>
                  <a:cubicBezTo>
                    <a:pt x="7" y="95"/>
                    <a:pt x="7" y="95"/>
                    <a:pt x="7" y="95"/>
                  </a:cubicBezTo>
                  <a:cubicBezTo>
                    <a:pt x="7" y="95"/>
                    <a:pt x="7" y="95"/>
                    <a:pt x="7" y="95"/>
                  </a:cubicBezTo>
                  <a:close/>
                  <a:moveTo>
                    <a:pt x="137" y="25"/>
                  </a:move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lose/>
                  <a:moveTo>
                    <a:pt x="136" y="25"/>
                  </a:moveTo>
                  <a:cubicBezTo>
                    <a:pt x="136" y="25"/>
                    <a:pt x="136" y="25"/>
                    <a:pt x="136" y="25"/>
                  </a:cubicBezTo>
                  <a:close/>
                  <a:moveTo>
                    <a:pt x="86" y="122"/>
                  </a:moveTo>
                  <a:cubicBezTo>
                    <a:pt x="77" y="122"/>
                    <a:pt x="69" y="118"/>
                    <a:pt x="62" y="112"/>
                  </a:cubicBezTo>
                  <a:cubicBezTo>
                    <a:pt x="54" y="103"/>
                    <a:pt x="50" y="91"/>
                    <a:pt x="53" y="79"/>
                  </a:cubicBezTo>
                  <a:cubicBezTo>
                    <a:pt x="56" y="66"/>
                    <a:pt x="66" y="56"/>
                    <a:pt x="79" y="54"/>
                  </a:cubicBezTo>
                  <a:cubicBezTo>
                    <a:pt x="90" y="51"/>
                    <a:pt x="102" y="54"/>
                    <a:pt x="111" y="63"/>
                  </a:cubicBezTo>
                  <a:cubicBezTo>
                    <a:pt x="119" y="71"/>
                    <a:pt x="123" y="83"/>
                    <a:pt x="120" y="95"/>
                  </a:cubicBezTo>
                  <a:cubicBezTo>
                    <a:pt x="117" y="108"/>
                    <a:pt x="107" y="118"/>
                    <a:pt x="94" y="121"/>
                  </a:cubicBezTo>
                  <a:cubicBezTo>
                    <a:pt x="92" y="121"/>
                    <a:pt x="89" y="122"/>
                    <a:pt x="86" y="122"/>
                  </a:cubicBezTo>
                  <a:close/>
                  <a:moveTo>
                    <a:pt x="86" y="61"/>
                  </a:moveTo>
                  <a:cubicBezTo>
                    <a:pt x="84" y="61"/>
                    <a:pt x="82" y="61"/>
                    <a:pt x="80" y="61"/>
                  </a:cubicBezTo>
                  <a:cubicBezTo>
                    <a:pt x="71" y="63"/>
                    <a:pt x="63" y="71"/>
                    <a:pt x="61" y="81"/>
                  </a:cubicBezTo>
                  <a:cubicBezTo>
                    <a:pt x="58" y="90"/>
                    <a:pt x="61" y="99"/>
                    <a:pt x="68" y="106"/>
                  </a:cubicBezTo>
                  <a:cubicBezTo>
                    <a:pt x="74" y="112"/>
                    <a:pt x="83" y="115"/>
                    <a:pt x="93" y="113"/>
                  </a:cubicBezTo>
                  <a:cubicBezTo>
                    <a:pt x="93" y="113"/>
                    <a:pt x="93" y="113"/>
                    <a:pt x="93" y="113"/>
                  </a:cubicBezTo>
                  <a:cubicBezTo>
                    <a:pt x="102" y="111"/>
                    <a:pt x="110" y="103"/>
                    <a:pt x="112" y="93"/>
                  </a:cubicBezTo>
                  <a:cubicBezTo>
                    <a:pt x="114" y="84"/>
                    <a:pt x="112" y="75"/>
                    <a:pt x="105" y="68"/>
                  </a:cubicBezTo>
                  <a:cubicBezTo>
                    <a:pt x="100" y="63"/>
                    <a:pt x="93" y="61"/>
                    <a:pt x="86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Rectangle 41"/>
            <p:cNvSpPr>
              <a:spLocks noChangeArrowheads="1"/>
            </p:cNvSpPr>
            <p:nvPr/>
          </p:nvSpPr>
          <p:spPr bwMode="auto">
            <a:xfrm>
              <a:off x="4508503" y="1077913"/>
              <a:ext cx="242307" cy="542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4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US" altLang="en-US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Rectangle 42"/>
            <p:cNvSpPr>
              <a:spLocks noChangeArrowheads="1"/>
            </p:cNvSpPr>
            <p:nvPr/>
          </p:nvSpPr>
          <p:spPr bwMode="auto">
            <a:xfrm>
              <a:off x="3778252" y="2343150"/>
              <a:ext cx="293687" cy="542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4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US" altLang="en-US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Rectangle 43"/>
            <p:cNvSpPr>
              <a:spLocks noChangeArrowheads="1"/>
            </p:cNvSpPr>
            <p:nvPr/>
          </p:nvSpPr>
          <p:spPr bwMode="auto">
            <a:xfrm>
              <a:off x="3778252" y="3956050"/>
              <a:ext cx="242307" cy="542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4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US" alt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Rectangle 44"/>
            <p:cNvSpPr>
              <a:spLocks noChangeArrowheads="1"/>
            </p:cNvSpPr>
            <p:nvPr/>
          </p:nvSpPr>
          <p:spPr bwMode="auto">
            <a:xfrm>
              <a:off x="4464050" y="5218113"/>
              <a:ext cx="258762" cy="542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4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US" alt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Rectangle 45"/>
            <p:cNvSpPr>
              <a:spLocks noChangeArrowheads="1"/>
            </p:cNvSpPr>
            <p:nvPr/>
          </p:nvSpPr>
          <p:spPr bwMode="auto">
            <a:xfrm>
              <a:off x="8867775" y="4640264"/>
              <a:ext cx="263525" cy="542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4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en-US" alt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Rectangle 46"/>
            <p:cNvSpPr>
              <a:spLocks noChangeArrowheads="1"/>
            </p:cNvSpPr>
            <p:nvPr/>
          </p:nvSpPr>
          <p:spPr bwMode="auto">
            <a:xfrm>
              <a:off x="9237662" y="3178175"/>
              <a:ext cx="241302" cy="542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4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en-US" alt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Rectangle 47"/>
            <p:cNvSpPr>
              <a:spLocks noChangeArrowheads="1"/>
            </p:cNvSpPr>
            <p:nvPr/>
          </p:nvSpPr>
          <p:spPr bwMode="auto">
            <a:xfrm>
              <a:off x="8875713" y="1681163"/>
              <a:ext cx="327025" cy="5428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24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en-US" altLang="en-US"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TextBox 93"/>
            <p:cNvSpPr txBox="1">
              <a:spLocks noChangeArrowheads="1"/>
            </p:cNvSpPr>
            <p:nvPr/>
          </p:nvSpPr>
          <p:spPr bwMode="auto">
            <a:xfrm>
              <a:off x="9870281" y="3248553"/>
              <a:ext cx="2266950" cy="984675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180975" lvl="2" indent="-177800" eaLnBrk="1" fontAlgn="auto" hangingPunct="1">
                <a:spcBef>
                  <a:spcPts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GB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arce resources </a:t>
              </a:r>
            </a:p>
            <a:p>
              <a:pPr marL="180975" lvl="2" indent="-177800" eaLnBrk="1" fontAlgn="auto" hangingPunct="1">
                <a:spcBef>
                  <a:spcPts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GB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ntaining talent</a:t>
              </a:r>
            </a:p>
            <a:p>
              <a:pPr marL="288925" lvl="2" indent="-285750" eaLnBrk="1" fontAlgn="auto" hangingPunct="1">
                <a:spcBef>
                  <a:spcPts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  <a:defRPr/>
              </a:pPr>
              <a:endParaRPr lang="en-GB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TextBox 93"/>
            <p:cNvSpPr txBox="1">
              <a:spLocks noChangeArrowheads="1"/>
            </p:cNvSpPr>
            <p:nvPr/>
          </p:nvSpPr>
          <p:spPr bwMode="auto">
            <a:xfrm>
              <a:off x="9777412" y="4874418"/>
              <a:ext cx="3255503" cy="6242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80975" indent="-177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2" eaLnBrk="1" hangingPunct="1"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sive system and operational </a:t>
              </a:r>
              <a:r>
                <a:rPr lang="en-GB" altLang="en-US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cumentation</a:t>
              </a:r>
              <a:endParaRPr lang="en-GB" alt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TextBox 93"/>
            <p:cNvSpPr txBox="1">
              <a:spLocks noChangeArrowheads="1"/>
            </p:cNvSpPr>
            <p:nvPr/>
          </p:nvSpPr>
          <p:spPr bwMode="auto">
            <a:xfrm>
              <a:off x="345728" y="2237572"/>
              <a:ext cx="3937000" cy="1432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80975" indent="-177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2" eaLnBrk="1" hangingPunct="1"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en-GB" altLang="en-US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ght timeframe</a:t>
              </a:r>
              <a:endParaRPr lang="en-GB" alt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2" eaLnBrk="1" hangingPunct="1"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current policy &amp; system development </a:t>
              </a:r>
            </a:p>
            <a:p>
              <a:pPr lvl="2" eaLnBrk="1" hangingPunct="1"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sive and evolving new </a:t>
              </a:r>
              <a:r>
                <a:rPr lang="en-GB" altLang="en-US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irements</a:t>
              </a:r>
              <a:endParaRPr lang="en-GB" alt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TextBox 93"/>
            <p:cNvSpPr txBox="1">
              <a:spLocks noChangeArrowheads="1"/>
            </p:cNvSpPr>
            <p:nvPr/>
          </p:nvSpPr>
          <p:spPr bwMode="auto">
            <a:xfrm>
              <a:off x="65089" y="4112961"/>
              <a:ext cx="3705226" cy="6619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80975" indent="-177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2" eaLnBrk="1" hangingPunct="1"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ng procurement process</a:t>
              </a:r>
            </a:p>
            <a:p>
              <a:pPr lvl="2" eaLnBrk="1" hangingPunct="1"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ultiple layer of governance</a:t>
              </a:r>
            </a:p>
          </p:txBody>
        </p:sp>
        <p:sp>
          <p:nvSpPr>
            <p:cNvPr id="92" name="TextBox 93"/>
            <p:cNvSpPr txBox="1">
              <a:spLocks noChangeArrowheads="1"/>
            </p:cNvSpPr>
            <p:nvPr/>
          </p:nvSpPr>
          <p:spPr bwMode="auto">
            <a:xfrm>
              <a:off x="970356" y="5481811"/>
              <a:ext cx="3049047" cy="984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2860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80975" indent="-177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2" eaLnBrk="1" hangingPunct="1"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endment of Act, </a:t>
              </a:r>
              <a:r>
                <a:rPr lang="en-GB" altLang="en-US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les</a:t>
              </a:r>
            </a:p>
            <a:p>
              <a:pPr marL="3175" lvl="2" indent="0" eaLnBrk="1" hangingPunct="1">
                <a:spcBef>
                  <a:spcPct val="0"/>
                </a:spcBef>
                <a:spcAft>
                  <a:spcPts val="200"/>
                </a:spcAft>
                <a:buNone/>
              </a:pP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altLang="en-US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and </a:t>
              </a:r>
              <a:r>
                <a:rPr lang="en-GB" altLang="en-US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ulations</a:t>
              </a:r>
            </a:p>
            <a:p>
              <a:pPr lvl="2" eaLnBrk="1" hangingPunct="1">
                <a:spcBef>
                  <a:spcPct val="0"/>
                </a:spcBef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endParaRPr lang="en-GB" altLang="en-US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25"/>
            <p:cNvSpPr>
              <a:spLocks noChangeArrowheads="1"/>
            </p:cNvSpPr>
            <p:nvPr/>
          </p:nvSpPr>
          <p:spPr bwMode="auto">
            <a:xfrm>
              <a:off x="266533" y="1914573"/>
              <a:ext cx="3045814" cy="316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400" b="1" dirty="0">
                  <a:solidFill>
                    <a:srgbClr val="FF912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YSTEM DEVELOPMENT</a:t>
              </a:r>
              <a:endParaRPr lang="en-US" alt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6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7349065" y="4786312"/>
            <a:ext cx="1600200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en-MY" altLang="en-US" sz="675" dirty="0" smtClean="0">
                <a:latin typeface="Cambria" panose="02040503050406030204" pitchFamily="18" charset="0"/>
              </a:rPr>
              <a:t>9</a:t>
            </a:r>
            <a:endParaRPr lang="en-MY" altLang="en-US" sz="675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274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nfarahin.ali\Downloads\logo naps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8951" y="141516"/>
            <a:ext cx="890672" cy="696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3"/>
          <p:cNvSpPr txBox="1">
            <a:spLocks/>
          </p:cNvSpPr>
          <p:nvPr/>
        </p:nvSpPr>
        <p:spPr>
          <a:xfrm>
            <a:off x="4872437" y="217439"/>
            <a:ext cx="6247180" cy="77672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  <a:defRPr/>
            </a:pPr>
            <a:r>
              <a:rPr lang="en-US" altLang="en-US" sz="32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ons Learnt</a:t>
            </a:r>
            <a:endParaRPr lang="en-US" altLang="en-US" sz="3200" b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93"/>
          <p:cNvSpPr txBox="1">
            <a:spLocks noChangeArrowheads="1"/>
          </p:cNvSpPr>
          <p:nvPr/>
        </p:nvSpPr>
        <p:spPr bwMode="auto">
          <a:xfrm>
            <a:off x="809324" y="1528971"/>
            <a:ext cx="2265625" cy="64633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m And Complete Business Requirements Before System   Development Start</a:t>
            </a:r>
          </a:p>
        </p:txBody>
      </p:sp>
      <p:sp>
        <p:nvSpPr>
          <p:cNvPr id="48" name="TextBox 93"/>
          <p:cNvSpPr txBox="1">
            <a:spLocks noChangeArrowheads="1"/>
          </p:cNvSpPr>
          <p:nvPr/>
        </p:nvSpPr>
        <p:spPr bwMode="auto">
          <a:xfrm>
            <a:off x="6272126" y="1460818"/>
            <a:ext cx="2011148" cy="75713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sibility Study &amp; Findings  From Operational, Policy Maker View</a:t>
            </a:r>
          </a:p>
        </p:txBody>
      </p:sp>
      <p:sp>
        <p:nvSpPr>
          <p:cNvPr id="49" name="Rectangle 8"/>
          <p:cNvSpPr>
            <a:spLocks noChangeArrowheads="1"/>
          </p:cNvSpPr>
          <p:nvPr/>
        </p:nvSpPr>
        <p:spPr bwMode="auto">
          <a:xfrm>
            <a:off x="5950941" y="1491638"/>
            <a:ext cx="227626" cy="4924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200" b="1" dirty="0" smtClean="0">
                <a:solidFill>
                  <a:srgbClr val="1C84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9"/>
          <p:cNvSpPr>
            <a:spLocks noChangeArrowheads="1"/>
          </p:cNvSpPr>
          <p:nvPr/>
        </p:nvSpPr>
        <p:spPr bwMode="auto">
          <a:xfrm>
            <a:off x="6364453" y="3188462"/>
            <a:ext cx="197777" cy="4924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200" b="1" dirty="0" smtClean="0">
                <a:solidFill>
                  <a:srgbClr val="0652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en-US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10"/>
          <p:cNvSpPr>
            <a:spLocks noChangeArrowheads="1"/>
          </p:cNvSpPr>
          <p:nvPr/>
        </p:nvSpPr>
        <p:spPr bwMode="auto">
          <a:xfrm flipH="1">
            <a:off x="1285405" y="2380091"/>
            <a:ext cx="743397" cy="4924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200" b="1" dirty="0" smtClean="0">
                <a:solidFill>
                  <a:srgbClr val="34B2E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Rectangle 11"/>
          <p:cNvSpPr>
            <a:spLocks noChangeArrowheads="1"/>
          </p:cNvSpPr>
          <p:nvPr/>
        </p:nvSpPr>
        <p:spPr bwMode="auto">
          <a:xfrm>
            <a:off x="581698" y="1491638"/>
            <a:ext cx="227626" cy="4924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200" b="1" dirty="0" smtClean="0">
                <a:solidFill>
                  <a:srgbClr val="5BBFC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TextBox 93"/>
          <p:cNvSpPr txBox="1">
            <a:spLocks noChangeArrowheads="1"/>
          </p:cNvSpPr>
          <p:nvPr/>
        </p:nvSpPr>
        <p:spPr bwMode="auto">
          <a:xfrm>
            <a:off x="6616018" y="3164182"/>
            <a:ext cx="1929633" cy="59093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y And Maintain The Right Talent To Carry Out System Development</a:t>
            </a:r>
          </a:p>
        </p:txBody>
      </p:sp>
      <p:sp>
        <p:nvSpPr>
          <p:cNvPr id="112" name="TextBox 93"/>
          <p:cNvSpPr txBox="1">
            <a:spLocks noChangeArrowheads="1"/>
          </p:cNvSpPr>
          <p:nvPr/>
        </p:nvSpPr>
        <p:spPr bwMode="auto">
          <a:xfrm>
            <a:off x="594778" y="3928249"/>
            <a:ext cx="2546788" cy="64633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orous Sharing Of Knowledge Between The Project Team </a:t>
            </a:r>
          </a:p>
          <a:p>
            <a:pPr marL="171450" indent="-171450">
              <a:lnSpc>
                <a:spcPct val="100000"/>
              </a:lnSpc>
              <a:spcBef>
                <a:spcPct val="0"/>
              </a:spcBef>
            </a:pPr>
            <a:endParaRPr lang="ru-RU" altLang="ru-RU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93"/>
          <p:cNvSpPr txBox="1">
            <a:spLocks noChangeArrowheads="1"/>
          </p:cNvSpPr>
          <p:nvPr/>
        </p:nvSpPr>
        <p:spPr bwMode="auto">
          <a:xfrm>
            <a:off x="1516913" y="2545920"/>
            <a:ext cx="2265625" cy="276999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stic Timeline</a:t>
            </a:r>
          </a:p>
        </p:txBody>
      </p:sp>
      <p:sp>
        <p:nvSpPr>
          <p:cNvPr id="30" name="TextBox 93"/>
          <p:cNvSpPr txBox="1">
            <a:spLocks noChangeArrowheads="1"/>
          </p:cNvSpPr>
          <p:nvPr/>
        </p:nvSpPr>
        <p:spPr bwMode="auto">
          <a:xfrm>
            <a:off x="763219" y="3231017"/>
            <a:ext cx="2265625" cy="276999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um Customization </a:t>
            </a: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8"/>
          <p:cNvSpPr>
            <a:spLocks noChangeArrowheads="1"/>
          </p:cNvSpPr>
          <p:nvPr/>
        </p:nvSpPr>
        <p:spPr bwMode="auto">
          <a:xfrm>
            <a:off x="581698" y="3088904"/>
            <a:ext cx="289669" cy="4924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200" b="1" dirty="0" smtClean="0">
                <a:solidFill>
                  <a:srgbClr val="1C84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396716" y="3901648"/>
            <a:ext cx="227626" cy="4924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200" b="1" dirty="0" smtClean="0">
                <a:solidFill>
                  <a:srgbClr val="1C84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8"/>
          <p:cNvSpPr>
            <a:spLocks noChangeArrowheads="1"/>
          </p:cNvSpPr>
          <p:nvPr/>
        </p:nvSpPr>
        <p:spPr bwMode="auto">
          <a:xfrm>
            <a:off x="6743002" y="2348109"/>
            <a:ext cx="227626" cy="4924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200" b="1" dirty="0">
                <a:solidFill>
                  <a:srgbClr val="1C84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en-US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066690" y="2361253"/>
            <a:ext cx="17545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 Comprehensive SOP before system Go Live </a:t>
            </a: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93"/>
          <p:cNvSpPr txBox="1">
            <a:spLocks noChangeArrowheads="1"/>
          </p:cNvSpPr>
          <p:nvPr/>
        </p:nvSpPr>
        <p:spPr bwMode="auto">
          <a:xfrm>
            <a:off x="6200118" y="4056276"/>
            <a:ext cx="2222159" cy="424732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 Coordination &amp; Teamwork</a:t>
            </a:r>
          </a:p>
        </p:txBody>
      </p:sp>
      <p:sp>
        <p:nvSpPr>
          <p:cNvPr id="38" name="Rectangle 9"/>
          <p:cNvSpPr>
            <a:spLocks noChangeArrowheads="1"/>
          </p:cNvSpPr>
          <p:nvPr/>
        </p:nvSpPr>
        <p:spPr bwMode="auto">
          <a:xfrm>
            <a:off x="5965865" y="4006551"/>
            <a:ext cx="197777" cy="4924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200" b="1" dirty="0" smtClean="0">
                <a:solidFill>
                  <a:srgbClr val="0652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en-US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93"/>
          <p:cNvSpPr txBox="1">
            <a:spLocks noChangeArrowheads="1"/>
          </p:cNvSpPr>
          <p:nvPr/>
        </p:nvSpPr>
        <p:spPr bwMode="auto">
          <a:xfrm>
            <a:off x="3519001" y="4593322"/>
            <a:ext cx="2546788" cy="276999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Communication </a:t>
            </a:r>
            <a:endParaRPr lang="ru-RU" altLang="ru-RU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8"/>
          <p:cNvSpPr>
            <a:spLocks noChangeArrowheads="1"/>
          </p:cNvSpPr>
          <p:nvPr/>
        </p:nvSpPr>
        <p:spPr bwMode="auto">
          <a:xfrm>
            <a:off x="3328225" y="4426574"/>
            <a:ext cx="227626" cy="49244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200" b="1" dirty="0" smtClean="0">
                <a:solidFill>
                  <a:srgbClr val="1C84C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en-US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3264631" y="1459383"/>
            <a:ext cx="2397600" cy="2900083"/>
            <a:chOff x="4643438" y="1724025"/>
            <a:chExt cx="2917825" cy="4540250"/>
          </a:xfrm>
        </p:grpSpPr>
        <p:sp>
          <p:nvSpPr>
            <p:cNvPr id="37" name="Line 7"/>
            <p:cNvSpPr>
              <a:spLocks noChangeShapeType="1"/>
            </p:cNvSpPr>
            <p:nvPr/>
          </p:nvSpPr>
          <p:spPr bwMode="auto">
            <a:xfrm flipH="1">
              <a:off x="4953000" y="56562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Line 8"/>
            <p:cNvSpPr>
              <a:spLocks noChangeShapeType="1"/>
            </p:cNvSpPr>
            <p:nvPr/>
          </p:nvSpPr>
          <p:spPr bwMode="auto">
            <a:xfrm flipH="1">
              <a:off x="4953000" y="56832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Line 9"/>
            <p:cNvSpPr>
              <a:spLocks noChangeShapeType="1"/>
            </p:cNvSpPr>
            <p:nvPr/>
          </p:nvSpPr>
          <p:spPr bwMode="auto">
            <a:xfrm flipH="1">
              <a:off x="4953000" y="57102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Line 10"/>
            <p:cNvSpPr>
              <a:spLocks noChangeShapeType="1"/>
            </p:cNvSpPr>
            <p:nvPr/>
          </p:nvSpPr>
          <p:spPr bwMode="auto">
            <a:xfrm flipH="1">
              <a:off x="4953000" y="57340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Line 11"/>
            <p:cNvSpPr>
              <a:spLocks noChangeShapeType="1"/>
            </p:cNvSpPr>
            <p:nvPr/>
          </p:nvSpPr>
          <p:spPr bwMode="auto">
            <a:xfrm flipH="1">
              <a:off x="4953000" y="57610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Line 12"/>
            <p:cNvSpPr>
              <a:spLocks noChangeShapeType="1"/>
            </p:cNvSpPr>
            <p:nvPr/>
          </p:nvSpPr>
          <p:spPr bwMode="auto">
            <a:xfrm flipH="1">
              <a:off x="4953000" y="578961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Line 13"/>
            <p:cNvSpPr>
              <a:spLocks noChangeShapeType="1"/>
            </p:cNvSpPr>
            <p:nvPr/>
          </p:nvSpPr>
          <p:spPr bwMode="auto">
            <a:xfrm flipH="1">
              <a:off x="4953000" y="58166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Line 14"/>
            <p:cNvSpPr>
              <a:spLocks noChangeShapeType="1"/>
            </p:cNvSpPr>
            <p:nvPr/>
          </p:nvSpPr>
          <p:spPr bwMode="auto">
            <a:xfrm flipH="1">
              <a:off x="4953000" y="58435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Line 15"/>
            <p:cNvSpPr>
              <a:spLocks noChangeShapeType="1"/>
            </p:cNvSpPr>
            <p:nvPr/>
          </p:nvSpPr>
          <p:spPr bwMode="auto">
            <a:xfrm flipH="1">
              <a:off x="4953000" y="58721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Line 16"/>
            <p:cNvSpPr>
              <a:spLocks noChangeShapeType="1"/>
            </p:cNvSpPr>
            <p:nvPr/>
          </p:nvSpPr>
          <p:spPr bwMode="auto">
            <a:xfrm flipH="1">
              <a:off x="4953000" y="58991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Line 17"/>
            <p:cNvSpPr>
              <a:spLocks noChangeShapeType="1"/>
            </p:cNvSpPr>
            <p:nvPr/>
          </p:nvSpPr>
          <p:spPr bwMode="auto">
            <a:xfrm flipH="1">
              <a:off x="4953000" y="59261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Line 18"/>
            <p:cNvSpPr>
              <a:spLocks noChangeShapeType="1"/>
            </p:cNvSpPr>
            <p:nvPr/>
          </p:nvSpPr>
          <p:spPr bwMode="auto">
            <a:xfrm flipH="1">
              <a:off x="4953000" y="595471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Line 19"/>
            <p:cNvSpPr>
              <a:spLocks noChangeShapeType="1"/>
            </p:cNvSpPr>
            <p:nvPr/>
          </p:nvSpPr>
          <p:spPr bwMode="auto">
            <a:xfrm flipH="1">
              <a:off x="4953000" y="59817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Line 20"/>
            <p:cNvSpPr>
              <a:spLocks noChangeShapeType="1"/>
            </p:cNvSpPr>
            <p:nvPr/>
          </p:nvSpPr>
          <p:spPr bwMode="auto">
            <a:xfrm flipH="1">
              <a:off x="4953000" y="60086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Line 21"/>
            <p:cNvSpPr>
              <a:spLocks noChangeShapeType="1"/>
            </p:cNvSpPr>
            <p:nvPr/>
          </p:nvSpPr>
          <p:spPr bwMode="auto">
            <a:xfrm flipH="1">
              <a:off x="4953000" y="60356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Line 22"/>
            <p:cNvSpPr>
              <a:spLocks noChangeShapeType="1"/>
            </p:cNvSpPr>
            <p:nvPr/>
          </p:nvSpPr>
          <p:spPr bwMode="auto">
            <a:xfrm flipH="1">
              <a:off x="4953000" y="60642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Line 23"/>
            <p:cNvSpPr>
              <a:spLocks noChangeShapeType="1"/>
            </p:cNvSpPr>
            <p:nvPr/>
          </p:nvSpPr>
          <p:spPr bwMode="auto">
            <a:xfrm flipH="1">
              <a:off x="4953000" y="60912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Line 24"/>
            <p:cNvSpPr>
              <a:spLocks noChangeShapeType="1"/>
            </p:cNvSpPr>
            <p:nvPr/>
          </p:nvSpPr>
          <p:spPr bwMode="auto">
            <a:xfrm flipH="1">
              <a:off x="4953000" y="61182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Line 25"/>
            <p:cNvSpPr>
              <a:spLocks noChangeShapeType="1"/>
            </p:cNvSpPr>
            <p:nvPr/>
          </p:nvSpPr>
          <p:spPr bwMode="auto">
            <a:xfrm flipH="1">
              <a:off x="4953000" y="61468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Line 26"/>
            <p:cNvSpPr>
              <a:spLocks noChangeShapeType="1"/>
            </p:cNvSpPr>
            <p:nvPr/>
          </p:nvSpPr>
          <p:spPr bwMode="auto">
            <a:xfrm flipH="1">
              <a:off x="4953000" y="61737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Line 27"/>
            <p:cNvSpPr>
              <a:spLocks noChangeShapeType="1"/>
            </p:cNvSpPr>
            <p:nvPr/>
          </p:nvSpPr>
          <p:spPr bwMode="auto">
            <a:xfrm flipH="1">
              <a:off x="4953000" y="62007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28"/>
            <p:cNvSpPr>
              <a:spLocks/>
            </p:cNvSpPr>
            <p:nvPr/>
          </p:nvSpPr>
          <p:spPr bwMode="auto">
            <a:xfrm>
              <a:off x="4926013" y="5589588"/>
              <a:ext cx="2454275" cy="674687"/>
            </a:xfrm>
            <a:custGeom>
              <a:avLst/>
              <a:gdLst>
                <a:gd name="T0" fmla="*/ 2147483646 w 626"/>
                <a:gd name="T1" fmla="*/ 2147483646 h 172"/>
                <a:gd name="T2" fmla="*/ 2147483646 w 626"/>
                <a:gd name="T3" fmla="*/ 2147483646 h 172"/>
                <a:gd name="T4" fmla="*/ 0 w 626"/>
                <a:gd name="T5" fmla="*/ 2147483646 h 172"/>
                <a:gd name="T6" fmla="*/ 0 w 626"/>
                <a:gd name="T7" fmla="*/ 2147483646 h 172"/>
                <a:gd name="T8" fmla="*/ 2147483646 w 626"/>
                <a:gd name="T9" fmla="*/ 0 h 172"/>
                <a:gd name="T10" fmla="*/ 2147483646 w 626"/>
                <a:gd name="T11" fmla="*/ 0 h 1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6" h="172">
                  <a:moveTo>
                    <a:pt x="626" y="172"/>
                  </a:moveTo>
                  <a:cubicBezTo>
                    <a:pt x="43" y="172"/>
                    <a:pt x="43" y="172"/>
                    <a:pt x="43" y="172"/>
                  </a:cubicBezTo>
                  <a:cubicBezTo>
                    <a:pt x="19" y="172"/>
                    <a:pt x="0" y="153"/>
                    <a:pt x="0" y="13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26" y="0"/>
                    <a:pt x="626" y="0"/>
                    <a:pt x="626" y="0"/>
                  </a:cubicBezTo>
                </a:path>
              </a:pathLst>
            </a:custGeom>
            <a:noFill/>
            <a:ln w="85725" cap="rnd">
              <a:solidFill>
                <a:srgbClr val="065280"/>
              </a:solidFill>
              <a:prstDash val="solid"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Line 29"/>
            <p:cNvSpPr>
              <a:spLocks noChangeShapeType="1"/>
            </p:cNvSpPr>
            <p:nvPr/>
          </p:nvSpPr>
          <p:spPr bwMode="auto">
            <a:xfrm flipH="1">
              <a:off x="4670425" y="48831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Line 30"/>
            <p:cNvSpPr>
              <a:spLocks noChangeShapeType="1"/>
            </p:cNvSpPr>
            <p:nvPr/>
          </p:nvSpPr>
          <p:spPr bwMode="auto">
            <a:xfrm flipH="1">
              <a:off x="4670425" y="49101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Line 31"/>
            <p:cNvSpPr>
              <a:spLocks noChangeShapeType="1"/>
            </p:cNvSpPr>
            <p:nvPr/>
          </p:nvSpPr>
          <p:spPr bwMode="auto">
            <a:xfrm flipH="1">
              <a:off x="4670425" y="49371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Line 32"/>
            <p:cNvSpPr>
              <a:spLocks noChangeShapeType="1"/>
            </p:cNvSpPr>
            <p:nvPr/>
          </p:nvSpPr>
          <p:spPr bwMode="auto">
            <a:xfrm flipH="1">
              <a:off x="4670425" y="49657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Line 33"/>
            <p:cNvSpPr>
              <a:spLocks noChangeShapeType="1"/>
            </p:cNvSpPr>
            <p:nvPr/>
          </p:nvSpPr>
          <p:spPr bwMode="auto">
            <a:xfrm flipH="1">
              <a:off x="4670425" y="49926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Line 34"/>
            <p:cNvSpPr>
              <a:spLocks noChangeShapeType="1"/>
            </p:cNvSpPr>
            <p:nvPr/>
          </p:nvSpPr>
          <p:spPr bwMode="auto">
            <a:xfrm flipH="1">
              <a:off x="4670425" y="50196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Line 35"/>
            <p:cNvSpPr>
              <a:spLocks noChangeShapeType="1"/>
            </p:cNvSpPr>
            <p:nvPr/>
          </p:nvSpPr>
          <p:spPr bwMode="auto">
            <a:xfrm flipH="1">
              <a:off x="4670425" y="50482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Line 36"/>
            <p:cNvSpPr>
              <a:spLocks noChangeShapeType="1"/>
            </p:cNvSpPr>
            <p:nvPr/>
          </p:nvSpPr>
          <p:spPr bwMode="auto">
            <a:xfrm flipH="1">
              <a:off x="4670425" y="50752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Line 37"/>
            <p:cNvSpPr>
              <a:spLocks noChangeShapeType="1"/>
            </p:cNvSpPr>
            <p:nvPr/>
          </p:nvSpPr>
          <p:spPr bwMode="auto">
            <a:xfrm flipH="1">
              <a:off x="4670425" y="50990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Line 38"/>
            <p:cNvSpPr>
              <a:spLocks noChangeShapeType="1"/>
            </p:cNvSpPr>
            <p:nvPr/>
          </p:nvSpPr>
          <p:spPr bwMode="auto">
            <a:xfrm flipH="1">
              <a:off x="4670425" y="51260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Line 39"/>
            <p:cNvSpPr>
              <a:spLocks noChangeShapeType="1"/>
            </p:cNvSpPr>
            <p:nvPr/>
          </p:nvSpPr>
          <p:spPr bwMode="auto">
            <a:xfrm flipH="1">
              <a:off x="4670425" y="51530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Line 40"/>
            <p:cNvSpPr>
              <a:spLocks noChangeShapeType="1"/>
            </p:cNvSpPr>
            <p:nvPr/>
          </p:nvSpPr>
          <p:spPr bwMode="auto">
            <a:xfrm flipH="1">
              <a:off x="4670425" y="51816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Line 41"/>
            <p:cNvSpPr>
              <a:spLocks noChangeShapeType="1"/>
            </p:cNvSpPr>
            <p:nvPr/>
          </p:nvSpPr>
          <p:spPr bwMode="auto">
            <a:xfrm flipH="1">
              <a:off x="4670425" y="52085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Line 42"/>
            <p:cNvSpPr>
              <a:spLocks noChangeShapeType="1"/>
            </p:cNvSpPr>
            <p:nvPr/>
          </p:nvSpPr>
          <p:spPr bwMode="auto">
            <a:xfrm flipH="1">
              <a:off x="4670425" y="52355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Line 43"/>
            <p:cNvSpPr>
              <a:spLocks noChangeShapeType="1"/>
            </p:cNvSpPr>
            <p:nvPr/>
          </p:nvSpPr>
          <p:spPr bwMode="auto">
            <a:xfrm flipH="1">
              <a:off x="4670425" y="52641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Line 44"/>
            <p:cNvSpPr>
              <a:spLocks noChangeShapeType="1"/>
            </p:cNvSpPr>
            <p:nvPr/>
          </p:nvSpPr>
          <p:spPr bwMode="auto">
            <a:xfrm flipH="1">
              <a:off x="4670425" y="52911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Line 45"/>
            <p:cNvSpPr>
              <a:spLocks noChangeShapeType="1"/>
            </p:cNvSpPr>
            <p:nvPr/>
          </p:nvSpPr>
          <p:spPr bwMode="auto">
            <a:xfrm flipH="1">
              <a:off x="4670425" y="53181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Line 46"/>
            <p:cNvSpPr>
              <a:spLocks noChangeShapeType="1"/>
            </p:cNvSpPr>
            <p:nvPr/>
          </p:nvSpPr>
          <p:spPr bwMode="auto">
            <a:xfrm flipH="1">
              <a:off x="4670425" y="534511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Line 47"/>
            <p:cNvSpPr>
              <a:spLocks noChangeShapeType="1"/>
            </p:cNvSpPr>
            <p:nvPr/>
          </p:nvSpPr>
          <p:spPr bwMode="auto">
            <a:xfrm flipH="1">
              <a:off x="4670425" y="53736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Line 48"/>
            <p:cNvSpPr>
              <a:spLocks noChangeShapeType="1"/>
            </p:cNvSpPr>
            <p:nvPr/>
          </p:nvSpPr>
          <p:spPr bwMode="auto">
            <a:xfrm flipH="1">
              <a:off x="4670425" y="54006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Line 49"/>
            <p:cNvSpPr>
              <a:spLocks noChangeShapeType="1"/>
            </p:cNvSpPr>
            <p:nvPr/>
          </p:nvSpPr>
          <p:spPr bwMode="auto">
            <a:xfrm flipH="1">
              <a:off x="4670425" y="54276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50"/>
            <p:cNvSpPr>
              <a:spLocks/>
            </p:cNvSpPr>
            <p:nvPr/>
          </p:nvSpPr>
          <p:spPr bwMode="auto">
            <a:xfrm>
              <a:off x="4643438" y="4816475"/>
              <a:ext cx="2454275" cy="674688"/>
            </a:xfrm>
            <a:custGeom>
              <a:avLst/>
              <a:gdLst>
                <a:gd name="T0" fmla="*/ 2147483646 w 626"/>
                <a:gd name="T1" fmla="*/ 2147483646 h 172"/>
                <a:gd name="T2" fmla="*/ 2147483646 w 626"/>
                <a:gd name="T3" fmla="*/ 2147483646 h 172"/>
                <a:gd name="T4" fmla="*/ 0 w 626"/>
                <a:gd name="T5" fmla="*/ 2147483646 h 172"/>
                <a:gd name="T6" fmla="*/ 0 w 626"/>
                <a:gd name="T7" fmla="*/ 2147483646 h 172"/>
                <a:gd name="T8" fmla="*/ 2147483646 w 626"/>
                <a:gd name="T9" fmla="*/ 0 h 172"/>
                <a:gd name="T10" fmla="*/ 2147483646 w 626"/>
                <a:gd name="T11" fmla="*/ 0 h 1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6" h="172">
                  <a:moveTo>
                    <a:pt x="626" y="172"/>
                  </a:moveTo>
                  <a:cubicBezTo>
                    <a:pt x="43" y="172"/>
                    <a:pt x="43" y="172"/>
                    <a:pt x="43" y="172"/>
                  </a:cubicBezTo>
                  <a:cubicBezTo>
                    <a:pt x="19" y="172"/>
                    <a:pt x="0" y="153"/>
                    <a:pt x="0" y="13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26" y="0"/>
                    <a:pt x="626" y="0"/>
                    <a:pt x="626" y="0"/>
                  </a:cubicBezTo>
                </a:path>
              </a:pathLst>
            </a:custGeom>
            <a:noFill/>
            <a:ln w="85725" cap="rnd">
              <a:solidFill>
                <a:srgbClr val="34B2E3"/>
              </a:solidFill>
              <a:prstDash val="solid"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Line 51"/>
            <p:cNvSpPr>
              <a:spLocks noChangeShapeType="1"/>
            </p:cNvSpPr>
            <p:nvPr/>
          </p:nvSpPr>
          <p:spPr bwMode="auto">
            <a:xfrm flipH="1">
              <a:off x="5126038" y="41100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Line 52"/>
            <p:cNvSpPr>
              <a:spLocks noChangeShapeType="1"/>
            </p:cNvSpPr>
            <p:nvPr/>
          </p:nvSpPr>
          <p:spPr bwMode="auto">
            <a:xfrm flipH="1">
              <a:off x="5126038" y="41370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Line 53"/>
            <p:cNvSpPr>
              <a:spLocks noChangeShapeType="1"/>
            </p:cNvSpPr>
            <p:nvPr/>
          </p:nvSpPr>
          <p:spPr bwMode="auto">
            <a:xfrm flipH="1">
              <a:off x="5126038" y="416401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Line 54"/>
            <p:cNvSpPr>
              <a:spLocks noChangeShapeType="1"/>
            </p:cNvSpPr>
            <p:nvPr/>
          </p:nvSpPr>
          <p:spPr bwMode="auto">
            <a:xfrm flipH="1">
              <a:off x="5126038" y="41925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Line 55"/>
            <p:cNvSpPr>
              <a:spLocks noChangeShapeType="1"/>
            </p:cNvSpPr>
            <p:nvPr/>
          </p:nvSpPr>
          <p:spPr bwMode="auto">
            <a:xfrm flipH="1">
              <a:off x="5126038" y="42195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Line 56"/>
            <p:cNvSpPr>
              <a:spLocks noChangeShapeType="1"/>
            </p:cNvSpPr>
            <p:nvPr/>
          </p:nvSpPr>
          <p:spPr bwMode="auto">
            <a:xfrm flipH="1">
              <a:off x="5126038" y="42465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Line 57"/>
            <p:cNvSpPr>
              <a:spLocks noChangeShapeType="1"/>
            </p:cNvSpPr>
            <p:nvPr/>
          </p:nvSpPr>
          <p:spPr bwMode="auto">
            <a:xfrm flipH="1">
              <a:off x="5126038" y="42751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Line 58"/>
            <p:cNvSpPr>
              <a:spLocks noChangeShapeType="1"/>
            </p:cNvSpPr>
            <p:nvPr/>
          </p:nvSpPr>
          <p:spPr bwMode="auto">
            <a:xfrm flipH="1">
              <a:off x="5126038" y="43021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Line 59"/>
            <p:cNvSpPr>
              <a:spLocks noChangeShapeType="1"/>
            </p:cNvSpPr>
            <p:nvPr/>
          </p:nvSpPr>
          <p:spPr bwMode="auto">
            <a:xfrm flipH="1">
              <a:off x="5126038" y="432911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Line 60"/>
            <p:cNvSpPr>
              <a:spLocks noChangeShapeType="1"/>
            </p:cNvSpPr>
            <p:nvPr/>
          </p:nvSpPr>
          <p:spPr bwMode="auto">
            <a:xfrm flipH="1">
              <a:off x="5126038" y="43576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Line 61"/>
            <p:cNvSpPr>
              <a:spLocks noChangeShapeType="1"/>
            </p:cNvSpPr>
            <p:nvPr/>
          </p:nvSpPr>
          <p:spPr bwMode="auto">
            <a:xfrm flipH="1">
              <a:off x="5126038" y="43846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Line 62"/>
            <p:cNvSpPr>
              <a:spLocks noChangeShapeType="1"/>
            </p:cNvSpPr>
            <p:nvPr/>
          </p:nvSpPr>
          <p:spPr bwMode="auto">
            <a:xfrm flipH="1">
              <a:off x="5126038" y="44116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Line 63"/>
            <p:cNvSpPr>
              <a:spLocks noChangeShapeType="1"/>
            </p:cNvSpPr>
            <p:nvPr/>
          </p:nvSpPr>
          <p:spPr bwMode="auto">
            <a:xfrm flipH="1">
              <a:off x="5126038" y="44402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Line 64"/>
            <p:cNvSpPr>
              <a:spLocks noChangeShapeType="1"/>
            </p:cNvSpPr>
            <p:nvPr/>
          </p:nvSpPr>
          <p:spPr bwMode="auto">
            <a:xfrm flipH="1">
              <a:off x="5126038" y="44624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Line 65"/>
            <p:cNvSpPr>
              <a:spLocks noChangeShapeType="1"/>
            </p:cNvSpPr>
            <p:nvPr/>
          </p:nvSpPr>
          <p:spPr bwMode="auto">
            <a:xfrm flipH="1">
              <a:off x="5126038" y="44910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Line 66"/>
            <p:cNvSpPr>
              <a:spLocks noChangeShapeType="1"/>
            </p:cNvSpPr>
            <p:nvPr/>
          </p:nvSpPr>
          <p:spPr bwMode="auto">
            <a:xfrm flipH="1">
              <a:off x="5126038" y="45180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Line 67"/>
            <p:cNvSpPr>
              <a:spLocks noChangeShapeType="1"/>
            </p:cNvSpPr>
            <p:nvPr/>
          </p:nvSpPr>
          <p:spPr bwMode="auto">
            <a:xfrm flipH="1">
              <a:off x="5126038" y="454501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Line 68"/>
            <p:cNvSpPr>
              <a:spLocks noChangeShapeType="1"/>
            </p:cNvSpPr>
            <p:nvPr/>
          </p:nvSpPr>
          <p:spPr bwMode="auto">
            <a:xfrm flipH="1">
              <a:off x="5126038" y="45735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Line 69"/>
            <p:cNvSpPr>
              <a:spLocks noChangeShapeType="1"/>
            </p:cNvSpPr>
            <p:nvPr/>
          </p:nvSpPr>
          <p:spPr bwMode="auto">
            <a:xfrm flipH="1">
              <a:off x="5126038" y="46005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Line 70"/>
            <p:cNvSpPr>
              <a:spLocks noChangeShapeType="1"/>
            </p:cNvSpPr>
            <p:nvPr/>
          </p:nvSpPr>
          <p:spPr bwMode="auto">
            <a:xfrm flipH="1">
              <a:off x="5126038" y="46275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Line 71"/>
            <p:cNvSpPr>
              <a:spLocks noChangeShapeType="1"/>
            </p:cNvSpPr>
            <p:nvPr/>
          </p:nvSpPr>
          <p:spPr bwMode="auto">
            <a:xfrm flipH="1">
              <a:off x="5126038" y="46545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72"/>
            <p:cNvSpPr>
              <a:spLocks/>
            </p:cNvSpPr>
            <p:nvPr/>
          </p:nvSpPr>
          <p:spPr bwMode="auto">
            <a:xfrm>
              <a:off x="5099050" y="4043363"/>
              <a:ext cx="2449513" cy="677862"/>
            </a:xfrm>
            <a:custGeom>
              <a:avLst/>
              <a:gdLst>
                <a:gd name="T0" fmla="*/ 2147483646 w 625"/>
                <a:gd name="T1" fmla="*/ 2147483646 h 173"/>
                <a:gd name="T2" fmla="*/ 2147483646 w 625"/>
                <a:gd name="T3" fmla="*/ 2147483646 h 173"/>
                <a:gd name="T4" fmla="*/ 0 w 625"/>
                <a:gd name="T5" fmla="*/ 2147483646 h 173"/>
                <a:gd name="T6" fmla="*/ 0 w 625"/>
                <a:gd name="T7" fmla="*/ 2147483646 h 173"/>
                <a:gd name="T8" fmla="*/ 2147483646 w 625"/>
                <a:gd name="T9" fmla="*/ 0 h 173"/>
                <a:gd name="T10" fmla="*/ 2147483646 w 625"/>
                <a:gd name="T11" fmla="*/ 0 h 1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5" h="173">
                  <a:moveTo>
                    <a:pt x="625" y="173"/>
                  </a:moveTo>
                  <a:cubicBezTo>
                    <a:pt x="42" y="173"/>
                    <a:pt x="42" y="173"/>
                    <a:pt x="42" y="173"/>
                  </a:cubicBezTo>
                  <a:cubicBezTo>
                    <a:pt x="19" y="173"/>
                    <a:pt x="0" y="154"/>
                    <a:pt x="0" y="13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25" y="0"/>
                    <a:pt x="625" y="0"/>
                    <a:pt x="625" y="0"/>
                  </a:cubicBezTo>
                </a:path>
              </a:pathLst>
            </a:custGeom>
            <a:noFill/>
            <a:ln w="85725" cap="rnd">
              <a:solidFill>
                <a:srgbClr val="64D1DA"/>
              </a:solidFill>
              <a:prstDash val="solid"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Line 73"/>
            <p:cNvSpPr>
              <a:spLocks noChangeShapeType="1"/>
            </p:cNvSpPr>
            <p:nvPr/>
          </p:nvSpPr>
          <p:spPr bwMode="auto">
            <a:xfrm flipH="1">
              <a:off x="4808538" y="33369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Line 74"/>
            <p:cNvSpPr>
              <a:spLocks noChangeShapeType="1"/>
            </p:cNvSpPr>
            <p:nvPr/>
          </p:nvSpPr>
          <p:spPr bwMode="auto">
            <a:xfrm flipH="1">
              <a:off x="4808538" y="336391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Line 75"/>
            <p:cNvSpPr>
              <a:spLocks noChangeShapeType="1"/>
            </p:cNvSpPr>
            <p:nvPr/>
          </p:nvSpPr>
          <p:spPr bwMode="auto">
            <a:xfrm flipH="1">
              <a:off x="4808538" y="33924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Line 76"/>
            <p:cNvSpPr>
              <a:spLocks noChangeShapeType="1"/>
            </p:cNvSpPr>
            <p:nvPr/>
          </p:nvSpPr>
          <p:spPr bwMode="auto">
            <a:xfrm flipH="1">
              <a:off x="4808538" y="34194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Line 77"/>
            <p:cNvSpPr>
              <a:spLocks noChangeShapeType="1"/>
            </p:cNvSpPr>
            <p:nvPr/>
          </p:nvSpPr>
          <p:spPr bwMode="auto">
            <a:xfrm flipH="1">
              <a:off x="4808538" y="34464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Line 78"/>
            <p:cNvSpPr>
              <a:spLocks noChangeShapeType="1"/>
            </p:cNvSpPr>
            <p:nvPr/>
          </p:nvSpPr>
          <p:spPr bwMode="auto">
            <a:xfrm flipH="1">
              <a:off x="4808538" y="34734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Line 79"/>
            <p:cNvSpPr>
              <a:spLocks noChangeShapeType="1"/>
            </p:cNvSpPr>
            <p:nvPr/>
          </p:nvSpPr>
          <p:spPr bwMode="auto">
            <a:xfrm flipH="1">
              <a:off x="4808538" y="35020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Line 80"/>
            <p:cNvSpPr>
              <a:spLocks noChangeShapeType="1"/>
            </p:cNvSpPr>
            <p:nvPr/>
          </p:nvSpPr>
          <p:spPr bwMode="auto">
            <a:xfrm flipH="1">
              <a:off x="4808538" y="352901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Line 81"/>
            <p:cNvSpPr>
              <a:spLocks noChangeShapeType="1"/>
            </p:cNvSpPr>
            <p:nvPr/>
          </p:nvSpPr>
          <p:spPr bwMode="auto">
            <a:xfrm flipH="1">
              <a:off x="4808538" y="35560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Line 82"/>
            <p:cNvSpPr>
              <a:spLocks noChangeShapeType="1"/>
            </p:cNvSpPr>
            <p:nvPr/>
          </p:nvSpPr>
          <p:spPr bwMode="auto">
            <a:xfrm flipH="1">
              <a:off x="4808538" y="35845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Line 83"/>
            <p:cNvSpPr>
              <a:spLocks noChangeShapeType="1"/>
            </p:cNvSpPr>
            <p:nvPr/>
          </p:nvSpPr>
          <p:spPr bwMode="auto">
            <a:xfrm flipH="1">
              <a:off x="4808538" y="36115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Line 84"/>
            <p:cNvSpPr>
              <a:spLocks noChangeShapeType="1"/>
            </p:cNvSpPr>
            <p:nvPr/>
          </p:nvSpPr>
          <p:spPr bwMode="auto">
            <a:xfrm flipH="1">
              <a:off x="4808538" y="36385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Line 85"/>
            <p:cNvSpPr>
              <a:spLocks noChangeShapeType="1"/>
            </p:cNvSpPr>
            <p:nvPr/>
          </p:nvSpPr>
          <p:spPr bwMode="auto">
            <a:xfrm flipH="1">
              <a:off x="4808538" y="36671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Line 86"/>
            <p:cNvSpPr>
              <a:spLocks noChangeShapeType="1"/>
            </p:cNvSpPr>
            <p:nvPr/>
          </p:nvSpPr>
          <p:spPr bwMode="auto">
            <a:xfrm flipH="1">
              <a:off x="4808538" y="369411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Line 87"/>
            <p:cNvSpPr>
              <a:spLocks noChangeShapeType="1"/>
            </p:cNvSpPr>
            <p:nvPr/>
          </p:nvSpPr>
          <p:spPr bwMode="auto">
            <a:xfrm flipH="1">
              <a:off x="4808538" y="37211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Line 88"/>
            <p:cNvSpPr>
              <a:spLocks noChangeShapeType="1"/>
            </p:cNvSpPr>
            <p:nvPr/>
          </p:nvSpPr>
          <p:spPr bwMode="auto">
            <a:xfrm flipH="1">
              <a:off x="4808538" y="37496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Line 89"/>
            <p:cNvSpPr>
              <a:spLocks noChangeShapeType="1"/>
            </p:cNvSpPr>
            <p:nvPr/>
          </p:nvSpPr>
          <p:spPr bwMode="auto">
            <a:xfrm flipH="1">
              <a:off x="4808538" y="37766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Line 90"/>
            <p:cNvSpPr>
              <a:spLocks noChangeShapeType="1"/>
            </p:cNvSpPr>
            <p:nvPr/>
          </p:nvSpPr>
          <p:spPr bwMode="auto">
            <a:xfrm flipH="1">
              <a:off x="4808538" y="38036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Line 91"/>
            <p:cNvSpPr>
              <a:spLocks noChangeShapeType="1"/>
            </p:cNvSpPr>
            <p:nvPr/>
          </p:nvSpPr>
          <p:spPr bwMode="auto">
            <a:xfrm flipH="1">
              <a:off x="4808538" y="38274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Line 92"/>
            <p:cNvSpPr>
              <a:spLocks noChangeShapeType="1"/>
            </p:cNvSpPr>
            <p:nvPr/>
          </p:nvSpPr>
          <p:spPr bwMode="auto">
            <a:xfrm flipH="1">
              <a:off x="4808538" y="38544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Line 93"/>
            <p:cNvSpPr>
              <a:spLocks noChangeShapeType="1"/>
            </p:cNvSpPr>
            <p:nvPr/>
          </p:nvSpPr>
          <p:spPr bwMode="auto">
            <a:xfrm flipH="1">
              <a:off x="4808538" y="38830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Freeform 94"/>
            <p:cNvSpPr>
              <a:spLocks/>
            </p:cNvSpPr>
            <p:nvPr/>
          </p:nvSpPr>
          <p:spPr bwMode="auto">
            <a:xfrm>
              <a:off x="4781550" y="3270250"/>
              <a:ext cx="2454275" cy="679450"/>
            </a:xfrm>
            <a:custGeom>
              <a:avLst/>
              <a:gdLst>
                <a:gd name="T0" fmla="*/ 2147483646 w 626"/>
                <a:gd name="T1" fmla="*/ 2147483646 h 173"/>
                <a:gd name="T2" fmla="*/ 2147483646 w 626"/>
                <a:gd name="T3" fmla="*/ 2147483646 h 173"/>
                <a:gd name="T4" fmla="*/ 0 w 626"/>
                <a:gd name="T5" fmla="*/ 2147483646 h 173"/>
                <a:gd name="T6" fmla="*/ 0 w 626"/>
                <a:gd name="T7" fmla="*/ 2147483646 h 173"/>
                <a:gd name="T8" fmla="*/ 2147483646 w 626"/>
                <a:gd name="T9" fmla="*/ 0 h 173"/>
                <a:gd name="T10" fmla="*/ 2147483646 w 626"/>
                <a:gd name="T11" fmla="*/ 0 h 1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6" h="173">
                  <a:moveTo>
                    <a:pt x="626" y="173"/>
                  </a:moveTo>
                  <a:cubicBezTo>
                    <a:pt x="43" y="173"/>
                    <a:pt x="43" y="173"/>
                    <a:pt x="43" y="173"/>
                  </a:cubicBezTo>
                  <a:cubicBezTo>
                    <a:pt x="19" y="173"/>
                    <a:pt x="0" y="154"/>
                    <a:pt x="0" y="13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26" y="0"/>
                    <a:pt x="626" y="0"/>
                    <a:pt x="626" y="0"/>
                  </a:cubicBezTo>
                </a:path>
              </a:pathLst>
            </a:custGeom>
            <a:noFill/>
            <a:ln w="85725" cap="rnd">
              <a:solidFill>
                <a:srgbClr val="8C103D"/>
              </a:solidFill>
              <a:prstDash val="solid"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Line 95"/>
            <p:cNvSpPr>
              <a:spLocks noChangeShapeType="1"/>
            </p:cNvSpPr>
            <p:nvPr/>
          </p:nvSpPr>
          <p:spPr bwMode="auto">
            <a:xfrm flipH="1">
              <a:off x="5106988" y="2563813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Line 96"/>
            <p:cNvSpPr>
              <a:spLocks noChangeShapeType="1"/>
            </p:cNvSpPr>
            <p:nvPr/>
          </p:nvSpPr>
          <p:spPr bwMode="auto">
            <a:xfrm flipH="1">
              <a:off x="5106988" y="2590800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Line 97"/>
            <p:cNvSpPr>
              <a:spLocks noChangeShapeType="1"/>
            </p:cNvSpPr>
            <p:nvPr/>
          </p:nvSpPr>
          <p:spPr bwMode="auto">
            <a:xfrm flipH="1">
              <a:off x="5106988" y="2619375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Line 98"/>
            <p:cNvSpPr>
              <a:spLocks noChangeShapeType="1"/>
            </p:cNvSpPr>
            <p:nvPr/>
          </p:nvSpPr>
          <p:spPr bwMode="auto">
            <a:xfrm flipH="1">
              <a:off x="5106988" y="2646363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Line 99"/>
            <p:cNvSpPr>
              <a:spLocks noChangeShapeType="1"/>
            </p:cNvSpPr>
            <p:nvPr/>
          </p:nvSpPr>
          <p:spPr bwMode="auto">
            <a:xfrm flipH="1">
              <a:off x="5106988" y="2673350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Line 100"/>
            <p:cNvSpPr>
              <a:spLocks noChangeShapeType="1"/>
            </p:cNvSpPr>
            <p:nvPr/>
          </p:nvSpPr>
          <p:spPr bwMode="auto">
            <a:xfrm flipH="1">
              <a:off x="5106988" y="2701925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Line 101"/>
            <p:cNvSpPr>
              <a:spLocks noChangeShapeType="1"/>
            </p:cNvSpPr>
            <p:nvPr/>
          </p:nvSpPr>
          <p:spPr bwMode="auto">
            <a:xfrm flipH="1">
              <a:off x="5106988" y="2728913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Line 102"/>
            <p:cNvSpPr>
              <a:spLocks noChangeShapeType="1"/>
            </p:cNvSpPr>
            <p:nvPr/>
          </p:nvSpPr>
          <p:spPr bwMode="auto">
            <a:xfrm flipH="1">
              <a:off x="5106988" y="2755900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Line 103"/>
            <p:cNvSpPr>
              <a:spLocks noChangeShapeType="1"/>
            </p:cNvSpPr>
            <p:nvPr/>
          </p:nvSpPr>
          <p:spPr bwMode="auto">
            <a:xfrm flipH="1">
              <a:off x="5106988" y="2782888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Line 104"/>
            <p:cNvSpPr>
              <a:spLocks noChangeShapeType="1"/>
            </p:cNvSpPr>
            <p:nvPr/>
          </p:nvSpPr>
          <p:spPr bwMode="auto">
            <a:xfrm flipH="1">
              <a:off x="5106988" y="2811463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Line 105"/>
            <p:cNvSpPr>
              <a:spLocks noChangeShapeType="1"/>
            </p:cNvSpPr>
            <p:nvPr/>
          </p:nvSpPr>
          <p:spPr bwMode="auto">
            <a:xfrm flipH="1">
              <a:off x="5106988" y="2838450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Line 106"/>
            <p:cNvSpPr>
              <a:spLocks noChangeShapeType="1"/>
            </p:cNvSpPr>
            <p:nvPr/>
          </p:nvSpPr>
          <p:spPr bwMode="auto">
            <a:xfrm flipH="1">
              <a:off x="5106988" y="2865438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Line 107"/>
            <p:cNvSpPr>
              <a:spLocks noChangeShapeType="1"/>
            </p:cNvSpPr>
            <p:nvPr/>
          </p:nvSpPr>
          <p:spPr bwMode="auto">
            <a:xfrm flipH="1">
              <a:off x="5106988" y="2894013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Line 108"/>
            <p:cNvSpPr>
              <a:spLocks noChangeShapeType="1"/>
            </p:cNvSpPr>
            <p:nvPr/>
          </p:nvSpPr>
          <p:spPr bwMode="auto">
            <a:xfrm flipH="1">
              <a:off x="5106988" y="2921000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Line 109"/>
            <p:cNvSpPr>
              <a:spLocks noChangeShapeType="1"/>
            </p:cNvSpPr>
            <p:nvPr/>
          </p:nvSpPr>
          <p:spPr bwMode="auto">
            <a:xfrm flipH="1">
              <a:off x="5106988" y="2947988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Line 110"/>
            <p:cNvSpPr>
              <a:spLocks noChangeShapeType="1"/>
            </p:cNvSpPr>
            <p:nvPr/>
          </p:nvSpPr>
          <p:spPr bwMode="auto">
            <a:xfrm flipH="1">
              <a:off x="5106988" y="2976563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Line 111"/>
            <p:cNvSpPr>
              <a:spLocks noChangeShapeType="1"/>
            </p:cNvSpPr>
            <p:nvPr/>
          </p:nvSpPr>
          <p:spPr bwMode="auto">
            <a:xfrm flipH="1">
              <a:off x="5106988" y="3003550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Line 112"/>
            <p:cNvSpPr>
              <a:spLocks noChangeShapeType="1"/>
            </p:cNvSpPr>
            <p:nvPr/>
          </p:nvSpPr>
          <p:spPr bwMode="auto">
            <a:xfrm flipH="1">
              <a:off x="5106988" y="3030538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Line 113"/>
            <p:cNvSpPr>
              <a:spLocks noChangeShapeType="1"/>
            </p:cNvSpPr>
            <p:nvPr/>
          </p:nvSpPr>
          <p:spPr bwMode="auto">
            <a:xfrm flipH="1">
              <a:off x="5106988" y="3057525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Line 114"/>
            <p:cNvSpPr>
              <a:spLocks noChangeShapeType="1"/>
            </p:cNvSpPr>
            <p:nvPr/>
          </p:nvSpPr>
          <p:spPr bwMode="auto">
            <a:xfrm flipH="1">
              <a:off x="5106988" y="3086100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Line 115"/>
            <p:cNvSpPr>
              <a:spLocks noChangeShapeType="1"/>
            </p:cNvSpPr>
            <p:nvPr/>
          </p:nvSpPr>
          <p:spPr bwMode="auto">
            <a:xfrm flipH="1">
              <a:off x="5106988" y="3113088"/>
              <a:ext cx="2430462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Freeform 116"/>
            <p:cNvSpPr>
              <a:spLocks/>
            </p:cNvSpPr>
            <p:nvPr/>
          </p:nvSpPr>
          <p:spPr bwMode="auto">
            <a:xfrm>
              <a:off x="5075238" y="2497138"/>
              <a:ext cx="2454275" cy="679450"/>
            </a:xfrm>
            <a:custGeom>
              <a:avLst/>
              <a:gdLst>
                <a:gd name="T0" fmla="*/ 2147483646 w 626"/>
                <a:gd name="T1" fmla="*/ 2147483646 h 173"/>
                <a:gd name="T2" fmla="*/ 2147483646 w 626"/>
                <a:gd name="T3" fmla="*/ 2147483646 h 173"/>
                <a:gd name="T4" fmla="*/ 0 w 626"/>
                <a:gd name="T5" fmla="*/ 2147483646 h 173"/>
                <a:gd name="T6" fmla="*/ 0 w 626"/>
                <a:gd name="T7" fmla="*/ 2147483646 h 173"/>
                <a:gd name="T8" fmla="*/ 2147483646 w 626"/>
                <a:gd name="T9" fmla="*/ 0 h 173"/>
                <a:gd name="T10" fmla="*/ 2147483646 w 626"/>
                <a:gd name="T11" fmla="*/ 0 h 1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6" h="173">
                  <a:moveTo>
                    <a:pt x="626" y="173"/>
                  </a:moveTo>
                  <a:cubicBezTo>
                    <a:pt x="43" y="173"/>
                    <a:pt x="43" y="173"/>
                    <a:pt x="43" y="173"/>
                  </a:cubicBezTo>
                  <a:cubicBezTo>
                    <a:pt x="20" y="173"/>
                    <a:pt x="0" y="154"/>
                    <a:pt x="0" y="13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19"/>
                    <a:pt x="20" y="0"/>
                    <a:pt x="43" y="0"/>
                  </a:cubicBezTo>
                  <a:cubicBezTo>
                    <a:pt x="626" y="0"/>
                    <a:pt x="626" y="0"/>
                    <a:pt x="626" y="0"/>
                  </a:cubicBezTo>
                </a:path>
              </a:pathLst>
            </a:custGeom>
            <a:noFill/>
            <a:ln w="85725" cap="rnd">
              <a:solidFill>
                <a:srgbClr val="E24956"/>
              </a:solidFill>
              <a:prstDash val="solid"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Line 117"/>
            <p:cNvSpPr>
              <a:spLocks noChangeShapeType="1"/>
            </p:cNvSpPr>
            <p:nvPr/>
          </p:nvSpPr>
          <p:spPr bwMode="auto">
            <a:xfrm flipH="1">
              <a:off x="4886325" y="17907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Line 118"/>
            <p:cNvSpPr>
              <a:spLocks noChangeShapeType="1"/>
            </p:cNvSpPr>
            <p:nvPr/>
          </p:nvSpPr>
          <p:spPr bwMode="auto">
            <a:xfrm flipH="1">
              <a:off x="4886325" y="18176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Line 119"/>
            <p:cNvSpPr>
              <a:spLocks noChangeShapeType="1"/>
            </p:cNvSpPr>
            <p:nvPr/>
          </p:nvSpPr>
          <p:spPr bwMode="auto">
            <a:xfrm flipH="1">
              <a:off x="4886325" y="18462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Line 120"/>
            <p:cNvSpPr>
              <a:spLocks noChangeShapeType="1"/>
            </p:cNvSpPr>
            <p:nvPr/>
          </p:nvSpPr>
          <p:spPr bwMode="auto">
            <a:xfrm flipH="1">
              <a:off x="4886325" y="18732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Line 121"/>
            <p:cNvSpPr>
              <a:spLocks noChangeShapeType="1"/>
            </p:cNvSpPr>
            <p:nvPr/>
          </p:nvSpPr>
          <p:spPr bwMode="auto">
            <a:xfrm flipH="1">
              <a:off x="4886325" y="19002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Line 122"/>
            <p:cNvSpPr>
              <a:spLocks noChangeShapeType="1"/>
            </p:cNvSpPr>
            <p:nvPr/>
          </p:nvSpPr>
          <p:spPr bwMode="auto">
            <a:xfrm flipH="1">
              <a:off x="4886325" y="192881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Line 123"/>
            <p:cNvSpPr>
              <a:spLocks noChangeShapeType="1"/>
            </p:cNvSpPr>
            <p:nvPr/>
          </p:nvSpPr>
          <p:spPr bwMode="auto">
            <a:xfrm flipH="1">
              <a:off x="4886325" y="19558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Line 124"/>
            <p:cNvSpPr>
              <a:spLocks noChangeShapeType="1"/>
            </p:cNvSpPr>
            <p:nvPr/>
          </p:nvSpPr>
          <p:spPr bwMode="auto">
            <a:xfrm flipH="1">
              <a:off x="4886325" y="19827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Line 125"/>
            <p:cNvSpPr>
              <a:spLocks noChangeShapeType="1"/>
            </p:cNvSpPr>
            <p:nvPr/>
          </p:nvSpPr>
          <p:spPr bwMode="auto">
            <a:xfrm flipH="1">
              <a:off x="4886325" y="2011363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Line 126"/>
            <p:cNvSpPr>
              <a:spLocks noChangeShapeType="1"/>
            </p:cNvSpPr>
            <p:nvPr/>
          </p:nvSpPr>
          <p:spPr bwMode="auto">
            <a:xfrm flipH="1">
              <a:off x="4886325" y="20383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Line 127"/>
            <p:cNvSpPr>
              <a:spLocks noChangeShapeType="1"/>
            </p:cNvSpPr>
            <p:nvPr/>
          </p:nvSpPr>
          <p:spPr bwMode="auto">
            <a:xfrm flipH="1">
              <a:off x="4886325" y="20653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Line 128"/>
            <p:cNvSpPr>
              <a:spLocks noChangeShapeType="1"/>
            </p:cNvSpPr>
            <p:nvPr/>
          </p:nvSpPr>
          <p:spPr bwMode="auto">
            <a:xfrm flipH="1">
              <a:off x="4886325" y="20923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Line 129"/>
            <p:cNvSpPr>
              <a:spLocks noChangeShapeType="1"/>
            </p:cNvSpPr>
            <p:nvPr/>
          </p:nvSpPr>
          <p:spPr bwMode="auto">
            <a:xfrm flipH="1">
              <a:off x="4886325" y="21209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Line 130"/>
            <p:cNvSpPr>
              <a:spLocks noChangeShapeType="1"/>
            </p:cNvSpPr>
            <p:nvPr/>
          </p:nvSpPr>
          <p:spPr bwMode="auto">
            <a:xfrm flipH="1">
              <a:off x="4886325" y="21478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Line 131"/>
            <p:cNvSpPr>
              <a:spLocks noChangeShapeType="1"/>
            </p:cNvSpPr>
            <p:nvPr/>
          </p:nvSpPr>
          <p:spPr bwMode="auto">
            <a:xfrm flipH="1">
              <a:off x="4886325" y="21748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Line 132"/>
            <p:cNvSpPr>
              <a:spLocks noChangeShapeType="1"/>
            </p:cNvSpPr>
            <p:nvPr/>
          </p:nvSpPr>
          <p:spPr bwMode="auto">
            <a:xfrm flipH="1">
              <a:off x="4886325" y="220345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Line 133"/>
            <p:cNvSpPr>
              <a:spLocks noChangeShapeType="1"/>
            </p:cNvSpPr>
            <p:nvPr/>
          </p:nvSpPr>
          <p:spPr bwMode="auto">
            <a:xfrm flipH="1">
              <a:off x="4886325" y="223043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7" name="Line 134"/>
            <p:cNvSpPr>
              <a:spLocks noChangeShapeType="1"/>
            </p:cNvSpPr>
            <p:nvPr/>
          </p:nvSpPr>
          <p:spPr bwMode="auto">
            <a:xfrm flipH="1">
              <a:off x="4886325" y="225742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8" name="Line 135"/>
            <p:cNvSpPr>
              <a:spLocks noChangeShapeType="1"/>
            </p:cNvSpPr>
            <p:nvPr/>
          </p:nvSpPr>
          <p:spPr bwMode="auto">
            <a:xfrm flipH="1">
              <a:off x="4886325" y="2286000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9" name="Line 136"/>
            <p:cNvSpPr>
              <a:spLocks noChangeShapeType="1"/>
            </p:cNvSpPr>
            <p:nvPr/>
          </p:nvSpPr>
          <p:spPr bwMode="auto">
            <a:xfrm flipH="1">
              <a:off x="4886325" y="2312988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0" name="Line 137"/>
            <p:cNvSpPr>
              <a:spLocks noChangeShapeType="1"/>
            </p:cNvSpPr>
            <p:nvPr/>
          </p:nvSpPr>
          <p:spPr bwMode="auto">
            <a:xfrm flipH="1">
              <a:off x="4886325" y="2339975"/>
              <a:ext cx="2435225" cy="0"/>
            </a:xfrm>
            <a:prstGeom prst="line">
              <a:avLst/>
            </a:prstGeom>
            <a:noFill/>
            <a:ln w="7938">
              <a:solidFill>
                <a:srgbClr val="D6D9DB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138"/>
            <p:cNvSpPr>
              <a:spLocks/>
            </p:cNvSpPr>
            <p:nvPr/>
          </p:nvSpPr>
          <p:spPr bwMode="auto">
            <a:xfrm>
              <a:off x="4859338" y="1724025"/>
              <a:ext cx="2454275" cy="679450"/>
            </a:xfrm>
            <a:custGeom>
              <a:avLst/>
              <a:gdLst>
                <a:gd name="T0" fmla="*/ 2147483646 w 626"/>
                <a:gd name="T1" fmla="*/ 2147483646 h 173"/>
                <a:gd name="T2" fmla="*/ 2147483646 w 626"/>
                <a:gd name="T3" fmla="*/ 2147483646 h 173"/>
                <a:gd name="T4" fmla="*/ 0 w 626"/>
                <a:gd name="T5" fmla="*/ 2147483646 h 173"/>
                <a:gd name="T6" fmla="*/ 0 w 626"/>
                <a:gd name="T7" fmla="*/ 2147483646 h 173"/>
                <a:gd name="T8" fmla="*/ 2147483646 w 626"/>
                <a:gd name="T9" fmla="*/ 0 h 173"/>
                <a:gd name="T10" fmla="*/ 2147483646 w 626"/>
                <a:gd name="T11" fmla="*/ 0 h 1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6" h="173">
                  <a:moveTo>
                    <a:pt x="626" y="173"/>
                  </a:moveTo>
                  <a:cubicBezTo>
                    <a:pt x="43" y="173"/>
                    <a:pt x="43" y="173"/>
                    <a:pt x="43" y="173"/>
                  </a:cubicBezTo>
                  <a:cubicBezTo>
                    <a:pt x="19" y="173"/>
                    <a:pt x="0" y="154"/>
                    <a:pt x="0" y="13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26" y="0"/>
                    <a:pt x="626" y="0"/>
                    <a:pt x="626" y="0"/>
                  </a:cubicBezTo>
                </a:path>
              </a:pathLst>
            </a:custGeom>
            <a:noFill/>
            <a:ln w="85725" cap="rnd">
              <a:solidFill>
                <a:srgbClr val="FF912B"/>
              </a:solidFill>
              <a:prstDash val="solid"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 prst="angle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92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7349065" y="4786312"/>
            <a:ext cx="1600200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632C789A-77E3-45D0-9F07-0F2103D5E992}" type="slidenum">
              <a:rPr lang="en-MY" altLang="en-US" sz="675">
                <a:latin typeface="Cambria" panose="02040503050406030204" pitchFamily="18" charset="0"/>
              </a:rPr>
              <a:pPr/>
              <a:t>10</a:t>
            </a:fld>
            <a:endParaRPr lang="en-MY" altLang="en-US" sz="675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0526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nfarahin.ali\Downloads\logo naps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8951" y="146085"/>
            <a:ext cx="890672" cy="696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3"/>
          <p:cNvSpPr txBox="1">
            <a:spLocks/>
          </p:cNvSpPr>
          <p:nvPr/>
        </p:nvSpPr>
        <p:spPr>
          <a:xfrm>
            <a:off x="5189799" y="143718"/>
            <a:ext cx="6543578" cy="776720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  <a:defRPr/>
            </a:pPr>
            <a:r>
              <a:rPr lang="en-US" altLang="en-US" sz="32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y Forward</a:t>
            </a:r>
            <a:endParaRPr lang="en-US" altLang="en-US" sz="3200" b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Freeform 16"/>
          <p:cNvSpPr>
            <a:spLocks/>
          </p:cNvSpPr>
          <p:nvPr/>
        </p:nvSpPr>
        <p:spPr bwMode="auto">
          <a:xfrm rot="156716">
            <a:off x="102282" y="3989065"/>
            <a:ext cx="2165559" cy="1024183"/>
          </a:xfrm>
          <a:custGeom>
            <a:avLst/>
            <a:gdLst>
              <a:gd name="T0" fmla="*/ 2147483646 w 1430"/>
              <a:gd name="T1" fmla="*/ 1139110983 h 1001"/>
              <a:gd name="T2" fmla="*/ 572076263 w 1430"/>
              <a:gd name="T3" fmla="*/ 7559677 h 1001"/>
              <a:gd name="T4" fmla="*/ 567035950 w 1430"/>
              <a:gd name="T5" fmla="*/ 0 h 1001"/>
              <a:gd name="T6" fmla="*/ 0 w 1430"/>
              <a:gd name="T7" fmla="*/ 1159272240 h 1001"/>
              <a:gd name="T8" fmla="*/ 2147483646 w 1430"/>
              <a:gd name="T9" fmla="*/ 2147483646 h 1001"/>
              <a:gd name="T10" fmla="*/ 2147483646 w 1430"/>
              <a:gd name="T11" fmla="*/ 1151710975 h 1001"/>
              <a:gd name="T12" fmla="*/ 2147483646 w 1430"/>
              <a:gd name="T13" fmla="*/ 1139110983 h 10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430" h="1001">
                <a:moveTo>
                  <a:pt x="1414" y="452"/>
                </a:moveTo>
                <a:lnTo>
                  <a:pt x="227" y="3"/>
                </a:lnTo>
                <a:lnTo>
                  <a:pt x="225" y="0"/>
                </a:lnTo>
                <a:lnTo>
                  <a:pt x="0" y="460"/>
                </a:lnTo>
                <a:lnTo>
                  <a:pt x="1430" y="1001"/>
                </a:lnTo>
                <a:lnTo>
                  <a:pt x="1430" y="457"/>
                </a:lnTo>
                <a:lnTo>
                  <a:pt x="1414" y="452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/>
        </p:spPr>
        <p:txBody>
          <a:bodyPr/>
          <a:lstStyle/>
          <a:p>
            <a:endParaRPr lang="en-US"/>
          </a:p>
        </p:txBody>
      </p:sp>
      <p:sp>
        <p:nvSpPr>
          <p:cNvPr id="82" name="TextBox 93"/>
          <p:cNvSpPr txBox="1">
            <a:spLocks noChangeArrowheads="1"/>
          </p:cNvSpPr>
          <p:nvPr/>
        </p:nvSpPr>
        <p:spPr bwMode="auto">
          <a:xfrm>
            <a:off x="3590848" y="1832701"/>
            <a:ext cx="319790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Improvements</a:t>
            </a:r>
            <a:endParaRPr lang="en-US" alt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TextBox 93"/>
          <p:cNvSpPr txBox="1">
            <a:spLocks noChangeArrowheads="1"/>
          </p:cNvSpPr>
          <p:nvPr/>
        </p:nvSpPr>
        <p:spPr bwMode="auto">
          <a:xfrm>
            <a:off x="3969292" y="2259012"/>
            <a:ext cx="30601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ing  Knowledge</a:t>
            </a:r>
            <a:endParaRPr lang="en-US" alt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93"/>
          <p:cNvSpPr txBox="1">
            <a:spLocks noChangeArrowheads="1"/>
          </p:cNvSpPr>
          <p:nvPr/>
        </p:nvSpPr>
        <p:spPr bwMode="auto">
          <a:xfrm>
            <a:off x="4362294" y="2779042"/>
            <a:ext cx="325770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 Documentation</a:t>
            </a:r>
            <a:endParaRPr lang="en-US" alt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TextBox 93"/>
          <p:cNvSpPr txBox="1">
            <a:spLocks noChangeArrowheads="1"/>
          </p:cNvSpPr>
          <p:nvPr/>
        </p:nvSpPr>
        <p:spPr bwMode="auto">
          <a:xfrm>
            <a:off x="4985463" y="3950205"/>
            <a:ext cx="4024160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en-US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Migration Transition Period</a:t>
            </a:r>
            <a:endParaRPr lang="en-US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7"/>
          <p:cNvSpPr>
            <a:spLocks noChangeArrowheads="1"/>
          </p:cNvSpPr>
          <p:nvPr/>
        </p:nvSpPr>
        <p:spPr bwMode="auto">
          <a:xfrm>
            <a:off x="3410414" y="1414924"/>
            <a:ext cx="26187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er Of Technology</a:t>
            </a:r>
            <a:endParaRPr lang="en-US" alt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Freeform 7"/>
          <p:cNvSpPr>
            <a:spLocks/>
          </p:cNvSpPr>
          <p:nvPr/>
        </p:nvSpPr>
        <p:spPr bwMode="auto">
          <a:xfrm>
            <a:off x="579570" y="3420796"/>
            <a:ext cx="3407634" cy="1038912"/>
          </a:xfrm>
          <a:custGeom>
            <a:avLst/>
            <a:gdLst>
              <a:gd name="T0" fmla="*/ 2147483646 w 2759"/>
              <a:gd name="T1" fmla="*/ 657760186 h 1043"/>
              <a:gd name="T2" fmla="*/ 2147483646 w 2759"/>
              <a:gd name="T3" fmla="*/ 0 h 1043"/>
              <a:gd name="T4" fmla="*/ 1741428564 w 2759"/>
              <a:gd name="T5" fmla="*/ 657760186 h 1043"/>
              <a:gd name="T6" fmla="*/ 0 w 2759"/>
              <a:gd name="T7" fmla="*/ 1318041323 h 1043"/>
              <a:gd name="T8" fmla="*/ 1741428564 w 2759"/>
              <a:gd name="T9" fmla="*/ 1970762783 h 1043"/>
              <a:gd name="T10" fmla="*/ 2147483646 w 2759"/>
              <a:gd name="T11" fmla="*/ 2147483646 h 1043"/>
              <a:gd name="T12" fmla="*/ 2147483646 w 2759"/>
              <a:gd name="T13" fmla="*/ 1970762783 h 1043"/>
              <a:gd name="T14" fmla="*/ 2147483646 w 2759"/>
              <a:gd name="T15" fmla="*/ 1318041323 h 1043"/>
              <a:gd name="T16" fmla="*/ 2147483646 w 2759"/>
              <a:gd name="T17" fmla="*/ 657760186 h 104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759" h="1043">
                <a:moveTo>
                  <a:pt x="2070" y="261"/>
                </a:moveTo>
                <a:lnTo>
                  <a:pt x="1379" y="0"/>
                </a:lnTo>
                <a:lnTo>
                  <a:pt x="691" y="261"/>
                </a:lnTo>
                <a:lnTo>
                  <a:pt x="0" y="523"/>
                </a:lnTo>
                <a:lnTo>
                  <a:pt x="691" y="782"/>
                </a:lnTo>
                <a:lnTo>
                  <a:pt x="1379" y="1043"/>
                </a:lnTo>
                <a:lnTo>
                  <a:pt x="2070" y="782"/>
                </a:lnTo>
                <a:lnTo>
                  <a:pt x="2759" y="523"/>
                </a:lnTo>
                <a:lnTo>
                  <a:pt x="2070" y="261"/>
                </a:lnTo>
                <a:close/>
              </a:path>
            </a:pathLst>
          </a:custGeom>
          <a:solidFill>
            <a:srgbClr val="A97C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8"/>
          <p:cNvSpPr>
            <a:spLocks/>
          </p:cNvSpPr>
          <p:nvPr/>
        </p:nvSpPr>
        <p:spPr bwMode="auto">
          <a:xfrm>
            <a:off x="794477" y="2971564"/>
            <a:ext cx="2977820" cy="946276"/>
          </a:xfrm>
          <a:custGeom>
            <a:avLst/>
            <a:gdLst>
              <a:gd name="T0" fmla="*/ 2147483646 w 2411"/>
              <a:gd name="T1" fmla="*/ 665321250 h 950"/>
              <a:gd name="T2" fmla="*/ 2147483646 w 2411"/>
              <a:gd name="T3" fmla="*/ 0 h 950"/>
              <a:gd name="T4" fmla="*/ 1454130760 w 2411"/>
              <a:gd name="T5" fmla="*/ 597277825 h 950"/>
              <a:gd name="T6" fmla="*/ 0 w 2411"/>
              <a:gd name="T7" fmla="*/ 1242437825 h 950"/>
              <a:gd name="T8" fmla="*/ 1454130760 w 2411"/>
              <a:gd name="T9" fmla="*/ 1794351250 h 950"/>
              <a:gd name="T10" fmla="*/ 2147483646 w 2411"/>
              <a:gd name="T11" fmla="*/ 2147483646 h 950"/>
              <a:gd name="T12" fmla="*/ 2147483646 w 2411"/>
              <a:gd name="T13" fmla="*/ 1794351250 h 950"/>
              <a:gd name="T14" fmla="*/ 2147483646 w 2411"/>
              <a:gd name="T15" fmla="*/ 1249997500 h 950"/>
              <a:gd name="T16" fmla="*/ 2147483646 w 2411"/>
              <a:gd name="T17" fmla="*/ 665321250 h 95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411" h="950">
                <a:moveTo>
                  <a:pt x="1809" y="264"/>
                </a:moveTo>
                <a:lnTo>
                  <a:pt x="1205" y="0"/>
                </a:lnTo>
                <a:lnTo>
                  <a:pt x="577" y="237"/>
                </a:lnTo>
                <a:lnTo>
                  <a:pt x="0" y="493"/>
                </a:lnTo>
                <a:lnTo>
                  <a:pt x="577" y="712"/>
                </a:lnTo>
                <a:lnTo>
                  <a:pt x="1205" y="950"/>
                </a:lnTo>
                <a:lnTo>
                  <a:pt x="1833" y="712"/>
                </a:lnTo>
                <a:lnTo>
                  <a:pt x="2411" y="496"/>
                </a:lnTo>
                <a:lnTo>
                  <a:pt x="1809" y="264"/>
                </a:lnTo>
                <a:close/>
              </a:path>
            </a:pathLst>
          </a:custGeom>
          <a:solidFill>
            <a:srgbClr val="2F83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9"/>
          <p:cNvSpPr>
            <a:spLocks/>
          </p:cNvSpPr>
          <p:nvPr/>
        </p:nvSpPr>
        <p:spPr bwMode="auto">
          <a:xfrm>
            <a:off x="1103252" y="2600025"/>
            <a:ext cx="2359036" cy="702237"/>
          </a:xfrm>
          <a:custGeom>
            <a:avLst/>
            <a:gdLst>
              <a:gd name="T0" fmla="*/ 2147483646 w 1910"/>
              <a:gd name="T1" fmla="*/ 441026747 h 705"/>
              <a:gd name="T2" fmla="*/ 2147483646 w 1910"/>
              <a:gd name="T3" fmla="*/ 0 h 705"/>
              <a:gd name="T4" fmla="*/ 1229836250 w 1910"/>
              <a:gd name="T5" fmla="*/ 441026747 h 705"/>
              <a:gd name="T6" fmla="*/ 0 w 1910"/>
              <a:gd name="T7" fmla="*/ 866934137 h 705"/>
              <a:gd name="T8" fmla="*/ 1237397513 w 1910"/>
              <a:gd name="T9" fmla="*/ 1330643094 h 705"/>
              <a:gd name="T10" fmla="*/ 2147483646 w 1910"/>
              <a:gd name="T11" fmla="*/ 1776710156 h 705"/>
              <a:gd name="T12" fmla="*/ 2147483646 w 1910"/>
              <a:gd name="T13" fmla="*/ 1338202773 h 705"/>
              <a:gd name="T14" fmla="*/ 2147483646 w 1910"/>
              <a:gd name="T15" fmla="*/ 866934137 h 705"/>
              <a:gd name="T16" fmla="*/ 2147483646 w 1910"/>
              <a:gd name="T17" fmla="*/ 441026747 h 70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910" h="705">
                <a:moveTo>
                  <a:pt x="1422" y="175"/>
                </a:moveTo>
                <a:lnTo>
                  <a:pt x="955" y="0"/>
                </a:lnTo>
                <a:lnTo>
                  <a:pt x="488" y="175"/>
                </a:lnTo>
                <a:lnTo>
                  <a:pt x="0" y="344"/>
                </a:lnTo>
                <a:lnTo>
                  <a:pt x="491" y="528"/>
                </a:lnTo>
                <a:lnTo>
                  <a:pt x="955" y="705"/>
                </a:lnTo>
                <a:lnTo>
                  <a:pt x="1411" y="531"/>
                </a:lnTo>
                <a:lnTo>
                  <a:pt x="1910" y="344"/>
                </a:lnTo>
                <a:lnTo>
                  <a:pt x="1422" y="175"/>
                </a:lnTo>
                <a:close/>
              </a:path>
            </a:pathLst>
          </a:custGeom>
          <a:solidFill>
            <a:srgbClr val="1E4C6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0"/>
          <p:cNvSpPr>
            <a:spLocks/>
          </p:cNvSpPr>
          <p:nvPr/>
        </p:nvSpPr>
        <p:spPr bwMode="auto">
          <a:xfrm>
            <a:off x="1415731" y="2168723"/>
            <a:ext cx="1736547" cy="520950"/>
          </a:xfrm>
          <a:custGeom>
            <a:avLst/>
            <a:gdLst>
              <a:gd name="T0" fmla="*/ 2147483646 w 1406"/>
              <a:gd name="T1" fmla="*/ 327620115 h 523"/>
              <a:gd name="T2" fmla="*/ 1769149688 w 1406"/>
              <a:gd name="T3" fmla="*/ 0 h 523"/>
              <a:gd name="T4" fmla="*/ 904736888 w 1406"/>
              <a:gd name="T5" fmla="*/ 327620115 h 523"/>
              <a:gd name="T6" fmla="*/ 0 w 1406"/>
              <a:gd name="T7" fmla="*/ 645159611 h 523"/>
              <a:gd name="T8" fmla="*/ 904736888 w 1406"/>
              <a:gd name="T9" fmla="*/ 985379707 h 523"/>
              <a:gd name="T10" fmla="*/ 1769149688 w 1406"/>
              <a:gd name="T11" fmla="*/ 1318040131 h 523"/>
              <a:gd name="T12" fmla="*/ 2147483646 w 1406"/>
              <a:gd name="T13" fmla="*/ 985379707 h 523"/>
              <a:gd name="T14" fmla="*/ 2147483646 w 1406"/>
              <a:gd name="T15" fmla="*/ 645159611 h 523"/>
              <a:gd name="T16" fmla="*/ 2147483646 w 1406"/>
              <a:gd name="T17" fmla="*/ 327620115 h 5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406" h="523">
                <a:moveTo>
                  <a:pt x="1048" y="130"/>
                </a:moveTo>
                <a:lnTo>
                  <a:pt x="702" y="0"/>
                </a:lnTo>
                <a:lnTo>
                  <a:pt x="359" y="130"/>
                </a:lnTo>
                <a:lnTo>
                  <a:pt x="0" y="256"/>
                </a:lnTo>
                <a:lnTo>
                  <a:pt x="359" y="391"/>
                </a:lnTo>
                <a:lnTo>
                  <a:pt x="702" y="523"/>
                </a:lnTo>
                <a:lnTo>
                  <a:pt x="1048" y="391"/>
                </a:lnTo>
                <a:lnTo>
                  <a:pt x="1406" y="256"/>
                </a:lnTo>
                <a:lnTo>
                  <a:pt x="1048" y="130"/>
                </a:lnTo>
                <a:close/>
              </a:path>
            </a:pathLst>
          </a:custGeom>
          <a:solidFill>
            <a:srgbClr val="66213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1"/>
          <p:cNvSpPr>
            <a:spLocks/>
          </p:cNvSpPr>
          <p:nvPr/>
        </p:nvSpPr>
        <p:spPr bwMode="auto">
          <a:xfrm>
            <a:off x="1729446" y="1745388"/>
            <a:ext cx="1110353" cy="323726"/>
          </a:xfrm>
          <a:custGeom>
            <a:avLst/>
            <a:gdLst>
              <a:gd name="T0" fmla="*/ 1680945601 w 899"/>
              <a:gd name="T1" fmla="*/ 178930473 h 325"/>
              <a:gd name="T2" fmla="*/ 1129030396 w 899"/>
              <a:gd name="T3" fmla="*/ 0 h 325"/>
              <a:gd name="T4" fmla="*/ 589716769 w 899"/>
              <a:gd name="T5" fmla="*/ 186491743 h 325"/>
              <a:gd name="T6" fmla="*/ 0 w 899"/>
              <a:gd name="T7" fmla="*/ 385583486 h 325"/>
              <a:gd name="T8" fmla="*/ 589716769 w 899"/>
              <a:gd name="T9" fmla="*/ 612397768 h 325"/>
              <a:gd name="T10" fmla="*/ 1129030396 w 899"/>
              <a:gd name="T11" fmla="*/ 819050781 h 325"/>
              <a:gd name="T12" fmla="*/ 1668344022 w 899"/>
              <a:gd name="T13" fmla="*/ 612397768 h 325"/>
              <a:gd name="T14" fmla="*/ 2147483646 w 899"/>
              <a:gd name="T15" fmla="*/ 385583486 h 325"/>
              <a:gd name="T16" fmla="*/ 1680945601 w 899"/>
              <a:gd name="T17" fmla="*/ 178930473 h 3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899" h="325">
                <a:moveTo>
                  <a:pt x="667" y="71"/>
                </a:moveTo>
                <a:lnTo>
                  <a:pt x="448" y="0"/>
                </a:lnTo>
                <a:lnTo>
                  <a:pt x="234" y="74"/>
                </a:lnTo>
                <a:lnTo>
                  <a:pt x="0" y="153"/>
                </a:lnTo>
                <a:lnTo>
                  <a:pt x="234" y="243"/>
                </a:lnTo>
                <a:lnTo>
                  <a:pt x="448" y="325"/>
                </a:lnTo>
                <a:lnTo>
                  <a:pt x="662" y="243"/>
                </a:lnTo>
                <a:lnTo>
                  <a:pt x="899" y="153"/>
                </a:lnTo>
                <a:lnTo>
                  <a:pt x="667" y="71"/>
                </a:lnTo>
                <a:close/>
              </a:path>
            </a:pathLst>
          </a:custGeom>
          <a:solidFill>
            <a:srgbClr val="BD6E2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"/>
          <p:cNvSpPr>
            <a:spLocks/>
          </p:cNvSpPr>
          <p:nvPr/>
        </p:nvSpPr>
        <p:spPr bwMode="auto">
          <a:xfrm>
            <a:off x="846351" y="2942677"/>
            <a:ext cx="1436418" cy="870574"/>
          </a:xfrm>
          <a:custGeom>
            <a:avLst/>
            <a:gdLst>
              <a:gd name="T0" fmla="*/ 2147483646 w 1163"/>
              <a:gd name="T1" fmla="*/ 2147483646 h 874"/>
              <a:gd name="T2" fmla="*/ 2147483646 w 1163"/>
              <a:gd name="T3" fmla="*/ 909777200 h 874"/>
              <a:gd name="T4" fmla="*/ 2147483646 w 1163"/>
              <a:gd name="T5" fmla="*/ 889615950 h 874"/>
              <a:gd name="T6" fmla="*/ 531753618 w 1163"/>
              <a:gd name="T7" fmla="*/ 0 h 874"/>
              <a:gd name="T8" fmla="*/ 524192358 w 1163"/>
              <a:gd name="T9" fmla="*/ 0 h 874"/>
              <a:gd name="T10" fmla="*/ 0 w 1163"/>
              <a:gd name="T11" fmla="*/ 1096268763 h 874"/>
              <a:gd name="T12" fmla="*/ 2147483646 w 1163"/>
              <a:gd name="T13" fmla="*/ 2147483646 h 8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63" h="874">
                <a:moveTo>
                  <a:pt x="1163" y="874"/>
                </a:moveTo>
                <a:lnTo>
                  <a:pt x="1163" y="361"/>
                </a:lnTo>
                <a:lnTo>
                  <a:pt x="1145" y="353"/>
                </a:lnTo>
                <a:lnTo>
                  <a:pt x="211" y="0"/>
                </a:lnTo>
                <a:lnTo>
                  <a:pt x="208" y="0"/>
                </a:lnTo>
                <a:lnTo>
                  <a:pt x="0" y="435"/>
                </a:lnTo>
                <a:lnTo>
                  <a:pt x="1163" y="874"/>
                </a:lnTo>
                <a:close/>
              </a:path>
            </a:pathLst>
          </a:custGeom>
          <a:solidFill>
            <a:srgbClr val="3289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3"/>
          <p:cNvSpPr>
            <a:spLocks/>
          </p:cNvSpPr>
          <p:nvPr/>
        </p:nvSpPr>
        <p:spPr bwMode="auto">
          <a:xfrm>
            <a:off x="1468841" y="1897789"/>
            <a:ext cx="813929" cy="686299"/>
          </a:xfrm>
          <a:custGeom>
            <a:avLst/>
            <a:gdLst>
              <a:gd name="T0" fmla="*/ 1660782969 w 659"/>
              <a:gd name="T1" fmla="*/ 1736386069 h 689"/>
              <a:gd name="T2" fmla="*/ 1660782969 w 659"/>
              <a:gd name="T3" fmla="*/ 433466677 h 689"/>
              <a:gd name="T4" fmla="*/ 1615420178 w 659"/>
              <a:gd name="T5" fmla="*/ 413305436 h 689"/>
              <a:gd name="T6" fmla="*/ 536793818 w 659"/>
              <a:gd name="T7" fmla="*/ 7559672 h 689"/>
              <a:gd name="T8" fmla="*/ 531753508 w 659"/>
              <a:gd name="T9" fmla="*/ 0 h 689"/>
              <a:gd name="T10" fmla="*/ 0 w 659"/>
              <a:gd name="T11" fmla="*/ 1106347294 h 689"/>
              <a:gd name="T12" fmla="*/ 1660782969 w 659"/>
              <a:gd name="T13" fmla="*/ 1736386069 h 68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59" h="689">
                <a:moveTo>
                  <a:pt x="659" y="689"/>
                </a:moveTo>
                <a:lnTo>
                  <a:pt x="659" y="172"/>
                </a:lnTo>
                <a:lnTo>
                  <a:pt x="641" y="164"/>
                </a:lnTo>
                <a:lnTo>
                  <a:pt x="213" y="3"/>
                </a:lnTo>
                <a:lnTo>
                  <a:pt x="211" y="0"/>
                </a:lnTo>
                <a:lnTo>
                  <a:pt x="0" y="439"/>
                </a:lnTo>
                <a:lnTo>
                  <a:pt x="659" y="689"/>
                </a:lnTo>
                <a:close/>
              </a:path>
            </a:pathLst>
          </a:custGeom>
          <a:solidFill>
            <a:srgbClr val="FFAA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4"/>
          <p:cNvSpPr>
            <a:spLocks/>
          </p:cNvSpPr>
          <p:nvPr/>
        </p:nvSpPr>
        <p:spPr bwMode="auto">
          <a:xfrm>
            <a:off x="1158831" y="2423720"/>
            <a:ext cx="1123939" cy="773954"/>
          </a:xfrm>
          <a:custGeom>
            <a:avLst/>
            <a:gdLst>
              <a:gd name="T0" fmla="*/ 2147483646 w 910"/>
              <a:gd name="T1" fmla="*/ 665320980 h 777"/>
              <a:gd name="T2" fmla="*/ 2147483646 w 910"/>
              <a:gd name="T3" fmla="*/ 652719410 h 777"/>
              <a:gd name="T4" fmla="*/ 524192500 w 910"/>
              <a:gd name="T5" fmla="*/ 0 h 777"/>
              <a:gd name="T6" fmla="*/ 0 w 910"/>
              <a:gd name="T7" fmla="*/ 1086186110 h 777"/>
              <a:gd name="T8" fmla="*/ 2147483646 w 910"/>
              <a:gd name="T9" fmla="*/ 1958159819 h 777"/>
              <a:gd name="T10" fmla="*/ 2147483646 w 910"/>
              <a:gd name="T11" fmla="*/ 665320980 h 77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910" h="777">
                <a:moveTo>
                  <a:pt x="910" y="264"/>
                </a:moveTo>
                <a:lnTo>
                  <a:pt x="894" y="259"/>
                </a:lnTo>
                <a:lnTo>
                  <a:pt x="208" y="0"/>
                </a:lnTo>
                <a:lnTo>
                  <a:pt x="0" y="431"/>
                </a:lnTo>
                <a:lnTo>
                  <a:pt x="910" y="777"/>
                </a:lnTo>
                <a:lnTo>
                  <a:pt x="910" y="264"/>
                </a:lnTo>
                <a:close/>
              </a:path>
            </a:pathLst>
          </a:custGeom>
          <a:solidFill>
            <a:srgbClr val="AD285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5"/>
          <p:cNvSpPr>
            <a:spLocks/>
          </p:cNvSpPr>
          <p:nvPr/>
        </p:nvSpPr>
        <p:spPr bwMode="auto">
          <a:xfrm>
            <a:off x="1781320" y="969442"/>
            <a:ext cx="501450" cy="994088"/>
          </a:xfrm>
          <a:custGeom>
            <a:avLst/>
            <a:gdLst>
              <a:gd name="T0" fmla="*/ 1023183438 w 406"/>
              <a:gd name="T1" fmla="*/ 2147483646 h 998"/>
              <a:gd name="T2" fmla="*/ 1023183438 w 406"/>
              <a:gd name="T3" fmla="*/ 0 h 998"/>
              <a:gd name="T4" fmla="*/ 0 w 406"/>
              <a:gd name="T5" fmla="*/ 2129532825 h 998"/>
              <a:gd name="T6" fmla="*/ 1023183438 w 406"/>
              <a:gd name="T7" fmla="*/ 2147483646 h 99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06" h="998">
                <a:moveTo>
                  <a:pt x="406" y="998"/>
                </a:moveTo>
                <a:lnTo>
                  <a:pt x="406" y="0"/>
                </a:lnTo>
                <a:lnTo>
                  <a:pt x="0" y="845"/>
                </a:lnTo>
                <a:lnTo>
                  <a:pt x="406" y="998"/>
                </a:lnTo>
                <a:close/>
              </a:path>
            </a:pathLst>
          </a:custGeom>
          <a:solidFill>
            <a:srgbClr val="FFDF9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7"/>
          <p:cNvSpPr>
            <a:spLocks/>
          </p:cNvSpPr>
          <p:nvPr/>
        </p:nvSpPr>
        <p:spPr bwMode="auto">
          <a:xfrm>
            <a:off x="2341437" y="2928376"/>
            <a:ext cx="1440124" cy="870574"/>
          </a:xfrm>
          <a:custGeom>
            <a:avLst/>
            <a:gdLst>
              <a:gd name="T0" fmla="*/ 0 w 1166"/>
              <a:gd name="T1" fmla="*/ 2147483646 h 874"/>
              <a:gd name="T2" fmla="*/ 0 w 1166"/>
              <a:gd name="T3" fmla="*/ 909777200 h 874"/>
              <a:gd name="T4" fmla="*/ 47883763 w 1166"/>
              <a:gd name="T5" fmla="*/ 889615950 h 874"/>
              <a:gd name="T6" fmla="*/ 2147483646 w 1166"/>
              <a:gd name="T7" fmla="*/ 0 h 874"/>
              <a:gd name="T8" fmla="*/ 2147483646 w 1166"/>
              <a:gd name="T9" fmla="*/ 0 h 874"/>
              <a:gd name="T10" fmla="*/ 2147483646 w 1166"/>
              <a:gd name="T11" fmla="*/ 1096268763 h 874"/>
              <a:gd name="T12" fmla="*/ 0 w 1166"/>
              <a:gd name="T13" fmla="*/ 2147483646 h 87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166" h="874">
                <a:moveTo>
                  <a:pt x="0" y="874"/>
                </a:moveTo>
                <a:lnTo>
                  <a:pt x="0" y="361"/>
                </a:lnTo>
                <a:lnTo>
                  <a:pt x="19" y="353"/>
                </a:lnTo>
                <a:lnTo>
                  <a:pt x="955" y="0"/>
                </a:lnTo>
                <a:lnTo>
                  <a:pt x="1166" y="435"/>
                </a:lnTo>
                <a:lnTo>
                  <a:pt x="0" y="874"/>
                </a:lnTo>
                <a:close/>
              </a:path>
            </a:pathLst>
          </a:custGeom>
          <a:solidFill>
            <a:srgbClr val="1F6C9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8"/>
          <p:cNvSpPr>
            <a:spLocks/>
          </p:cNvSpPr>
          <p:nvPr/>
        </p:nvSpPr>
        <p:spPr bwMode="auto">
          <a:xfrm>
            <a:off x="2282770" y="1897789"/>
            <a:ext cx="817635" cy="686299"/>
          </a:xfrm>
          <a:custGeom>
            <a:avLst/>
            <a:gdLst>
              <a:gd name="T0" fmla="*/ 0 w 662"/>
              <a:gd name="T1" fmla="*/ 1736386069 h 689"/>
              <a:gd name="T2" fmla="*/ 0 w 662"/>
              <a:gd name="T3" fmla="*/ 433466677 h 689"/>
              <a:gd name="T4" fmla="*/ 47883763 w 662"/>
              <a:gd name="T5" fmla="*/ 413305436 h 689"/>
              <a:gd name="T6" fmla="*/ 1123989688 w 662"/>
              <a:gd name="T7" fmla="*/ 7559672 h 689"/>
              <a:gd name="T8" fmla="*/ 1136591263 w 662"/>
              <a:gd name="T9" fmla="*/ 0 h 689"/>
              <a:gd name="T10" fmla="*/ 1668343438 w 662"/>
              <a:gd name="T11" fmla="*/ 1106347294 h 689"/>
              <a:gd name="T12" fmla="*/ 0 w 662"/>
              <a:gd name="T13" fmla="*/ 1736386069 h 68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62" h="689">
                <a:moveTo>
                  <a:pt x="0" y="689"/>
                </a:moveTo>
                <a:lnTo>
                  <a:pt x="0" y="172"/>
                </a:lnTo>
                <a:lnTo>
                  <a:pt x="19" y="164"/>
                </a:lnTo>
                <a:lnTo>
                  <a:pt x="446" y="3"/>
                </a:lnTo>
                <a:lnTo>
                  <a:pt x="451" y="0"/>
                </a:lnTo>
                <a:lnTo>
                  <a:pt x="662" y="439"/>
                </a:lnTo>
                <a:lnTo>
                  <a:pt x="0" y="689"/>
                </a:lnTo>
                <a:close/>
              </a:path>
            </a:pathLst>
          </a:custGeom>
          <a:solidFill>
            <a:srgbClr val="FF912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7" name="Freeform 19"/>
          <p:cNvSpPr>
            <a:spLocks/>
          </p:cNvSpPr>
          <p:nvPr/>
        </p:nvSpPr>
        <p:spPr bwMode="auto">
          <a:xfrm>
            <a:off x="2282770" y="2423720"/>
            <a:ext cx="1127644" cy="773954"/>
          </a:xfrm>
          <a:custGeom>
            <a:avLst/>
            <a:gdLst>
              <a:gd name="T0" fmla="*/ 0 w 913"/>
              <a:gd name="T1" fmla="*/ 665320980 h 777"/>
              <a:gd name="T2" fmla="*/ 47883779 w 913"/>
              <a:gd name="T3" fmla="*/ 652719410 h 777"/>
              <a:gd name="T4" fmla="*/ 1774190612 w 913"/>
              <a:gd name="T5" fmla="*/ 0 h 777"/>
              <a:gd name="T6" fmla="*/ 2147483646 w 913"/>
              <a:gd name="T7" fmla="*/ 1086186110 h 777"/>
              <a:gd name="T8" fmla="*/ 0 w 913"/>
              <a:gd name="T9" fmla="*/ 1958159819 h 777"/>
              <a:gd name="T10" fmla="*/ 0 w 913"/>
              <a:gd name="T11" fmla="*/ 665320980 h 77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913" h="777">
                <a:moveTo>
                  <a:pt x="0" y="264"/>
                </a:moveTo>
                <a:lnTo>
                  <a:pt x="19" y="259"/>
                </a:lnTo>
                <a:lnTo>
                  <a:pt x="704" y="0"/>
                </a:lnTo>
                <a:lnTo>
                  <a:pt x="913" y="431"/>
                </a:lnTo>
                <a:lnTo>
                  <a:pt x="0" y="777"/>
                </a:lnTo>
                <a:lnTo>
                  <a:pt x="0" y="264"/>
                </a:lnTo>
                <a:close/>
              </a:path>
            </a:pathLst>
          </a:custGeom>
          <a:solidFill>
            <a:srgbClr val="8C103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1" name="Freeform 20"/>
          <p:cNvSpPr>
            <a:spLocks/>
          </p:cNvSpPr>
          <p:nvPr/>
        </p:nvSpPr>
        <p:spPr bwMode="auto">
          <a:xfrm>
            <a:off x="2282770" y="969442"/>
            <a:ext cx="501450" cy="994088"/>
          </a:xfrm>
          <a:custGeom>
            <a:avLst/>
            <a:gdLst>
              <a:gd name="T0" fmla="*/ 0 w 406"/>
              <a:gd name="T1" fmla="*/ 2147483646 h 998"/>
              <a:gd name="T2" fmla="*/ 0 w 406"/>
              <a:gd name="T3" fmla="*/ 0 h 998"/>
              <a:gd name="T4" fmla="*/ 1023183438 w 406"/>
              <a:gd name="T5" fmla="*/ 2129532825 h 998"/>
              <a:gd name="T6" fmla="*/ 0 w 406"/>
              <a:gd name="T7" fmla="*/ 2147483646 h 99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06" h="998">
                <a:moveTo>
                  <a:pt x="0" y="998"/>
                </a:moveTo>
                <a:lnTo>
                  <a:pt x="0" y="0"/>
                </a:lnTo>
                <a:lnTo>
                  <a:pt x="406" y="845"/>
                </a:lnTo>
                <a:lnTo>
                  <a:pt x="0" y="998"/>
                </a:lnTo>
                <a:close/>
              </a:path>
            </a:pathLst>
          </a:custGeom>
          <a:solidFill>
            <a:srgbClr val="FFCC5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2" name="Freeform 21"/>
          <p:cNvSpPr>
            <a:spLocks/>
          </p:cNvSpPr>
          <p:nvPr/>
        </p:nvSpPr>
        <p:spPr bwMode="auto">
          <a:xfrm>
            <a:off x="2282770" y="3458647"/>
            <a:ext cx="1766190" cy="997077"/>
          </a:xfrm>
          <a:custGeom>
            <a:avLst/>
            <a:gdLst>
              <a:gd name="T0" fmla="*/ 47883763 w 1430"/>
              <a:gd name="T1" fmla="*/ 1139110983 h 1001"/>
              <a:gd name="T2" fmla="*/ 2147483646 w 1430"/>
              <a:gd name="T3" fmla="*/ 7559677 h 1001"/>
              <a:gd name="T4" fmla="*/ 2147483646 w 1430"/>
              <a:gd name="T5" fmla="*/ 0 h 1001"/>
              <a:gd name="T6" fmla="*/ 2147483646 w 1430"/>
              <a:gd name="T7" fmla="*/ 1159272240 h 1001"/>
              <a:gd name="T8" fmla="*/ 0 w 1430"/>
              <a:gd name="T9" fmla="*/ 2147483646 h 1001"/>
              <a:gd name="T10" fmla="*/ 0 w 1430"/>
              <a:gd name="T11" fmla="*/ 1151710975 h 1001"/>
              <a:gd name="T12" fmla="*/ 47883763 w 1430"/>
              <a:gd name="T13" fmla="*/ 1139110983 h 10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430" h="1001">
                <a:moveTo>
                  <a:pt x="19" y="452"/>
                </a:moveTo>
                <a:lnTo>
                  <a:pt x="1206" y="3"/>
                </a:lnTo>
                <a:lnTo>
                  <a:pt x="1208" y="0"/>
                </a:lnTo>
                <a:lnTo>
                  <a:pt x="1430" y="460"/>
                </a:lnTo>
                <a:lnTo>
                  <a:pt x="0" y="1001"/>
                </a:lnTo>
                <a:lnTo>
                  <a:pt x="0" y="457"/>
                </a:lnTo>
                <a:lnTo>
                  <a:pt x="19" y="452"/>
                </a:lnTo>
                <a:close/>
              </a:path>
            </a:pathLst>
          </a:custGeom>
          <a:solidFill>
            <a:srgbClr val="69D1D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4" name="Rectangle 22"/>
          <p:cNvSpPr>
            <a:spLocks noChangeArrowheads="1"/>
          </p:cNvSpPr>
          <p:nvPr/>
        </p:nvSpPr>
        <p:spPr bwMode="auto">
          <a:xfrm>
            <a:off x="4411557" y="3363663"/>
            <a:ext cx="30823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600" b="1" dirty="0" smtClean="0">
                <a:solidFill>
                  <a:srgbClr val="45C6D1"/>
                </a:solidFill>
                <a:latin typeface="Open Sans Semibold" panose="020B0706030804020204" pitchFamily="34" charset="0"/>
              </a:rPr>
              <a:t>5</a:t>
            </a:r>
            <a:endParaRPr lang="en-US" altLang="en-US" sz="1800" dirty="0"/>
          </a:p>
        </p:txBody>
      </p:sp>
      <p:sp>
        <p:nvSpPr>
          <p:cNvPr id="78" name="Rectangle 23"/>
          <p:cNvSpPr>
            <a:spLocks noChangeArrowheads="1"/>
          </p:cNvSpPr>
          <p:nvPr/>
        </p:nvSpPr>
        <p:spPr bwMode="auto">
          <a:xfrm>
            <a:off x="4060492" y="2861303"/>
            <a:ext cx="29271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600" b="1" dirty="0" smtClean="0">
                <a:solidFill>
                  <a:srgbClr val="1F6C9C"/>
                </a:solidFill>
                <a:latin typeface="Open Sans Semibold" panose="020B0706030804020204" pitchFamily="34" charset="0"/>
              </a:rPr>
              <a:t>4</a:t>
            </a:r>
            <a:endParaRPr lang="en-US" altLang="en-US" sz="1800" dirty="0"/>
          </a:p>
        </p:txBody>
      </p:sp>
      <p:sp>
        <p:nvSpPr>
          <p:cNvPr id="79" name="Rectangle 24"/>
          <p:cNvSpPr>
            <a:spLocks noChangeArrowheads="1"/>
          </p:cNvSpPr>
          <p:nvPr/>
        </p:nvSpPr>
        <p:spPr bwMode="auto">
          <a:xfrm>
            <a:off x="3715483" y="2337712"/>
            <a:ext cx="33347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600" b="1" dirty="0">
                <a:solidFill>
                  <a:srgbClr val="8C103D"/>
                </a:solidFill>
                <a:latin typeface="Open Sans Semibold" panose="020B0706030804020204" pitchFamily="34" charset="0"/>
              </a:rPr>
              <a:t>3</a:t>
            </a:r>
            <a:endParaRPr lang="en-US" altLang="en-US" sz="1800" dirty="0"/>
          </a:p>
        </p:txBody>
      </p:sp>
      <p:sp>
        <p:nvSpPr>
          <p:cNvPr id="80" name="Rectangle 25"/>
          <p:cNvSpPr>
            <a:spLocks noChangeArrowheads="1"/>
          </p:cNvSpPr>
          <p:nvPr/>
        </p:nvSpPr>
        <p:spPr bwMode="auto">
          <a:xfrm>
            <a:off x="3330242" y="1838293"/>
            <a:ext cx="23466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600" b="1" dirty="0">
                <a:solidFill>
                  <a:srgbClr val="FF912B"/>
                </a:solidFill>
                <a:latin typeface="Open Sans Semibold" panose="020B0706030804020204" pitchFamily="34" charset="0"/>
              </a:rPr>
              <a:t>2</a:t>
            </a:r>
            <a:endParaRPr lang="en-US" altLang="en-US" sz="1800" dirty="0"/>
          </a:p>
        </p:txBody>
      </p:sp>
      <p:sp>
        <p:nvSpPr>
          <p:cNvPr id="81" name="Rectangle 26"/>
          <p:cNvSpPr>
            <a:spLocks noChangeArrowheads="1"/>
          </p:cNvSpPr>
          <p:nvPr/>
        </p:nvSpPr>
        <p:spPr bwMode="auto">
          <a:xfrm>
            <a:off x="3004657" y="1341070"/>
            <a:ext cx="31751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600" b="1" dirty="0" smtClean="0">
                <a:solidFill>
                  <a:srgbClr val="FFAE00"/>
                </a:solidFill>
                <a:latin typeface="Open Sans Semibold" panose="020B0706030804020204" pitchFamily="34" charset="0"/>
              </a:rPr>
              <a:t>1</a:t>
            </a:r>
            <a:endParaRPr lang="en-US" altLang="en-US" sz="1800" dirty="0"/>
          </a:p>
        </p:txBody>
      </p:sp>
      <p:sp>
        <p:nvSpPr>
          <p:cNvPr id="30" name="Freeform 21"/>
          <p:cNvSpPr>
            <a:spLocks/>
          </p:cNvSpPr>
          <p:nvPr/>
        </p:nvSpPr>
        <p:spPr bwMode="auto">
          <a:xfrm>
            <a:off x="2288386" y="4000628"/>
            <a:ext cx="2041616" cy="1061432"/>
          </a:xfrm>
          <a:custGeom>
            <a:avLst/>
            <a:gdLst>
              <a:gd name="T0" fmla="*/ 47883763 w 1430"/>
              <a:gd name="T1" fmla="*/ 1139110983 h 1001"/>
              <a:gd name="T2" fmla="*/ 2147483646 w 1430"/>
              <a:gd name="T3" fmla="*/ 7559677 h 1001"/>
              <a:gd name="T4" fmla="*/ 2147483646 w 1430"/>
              <a:gd name="T5" fmla="*/ 0 h 1001"/>
              <a:gd name="T6" fmla="*/ 2147483646 w 1430"/>
              <a:gd name="T7" fmla="*/ 1159272240 h 1001"/>
              <a:gd name="T8" fmla="*/ 0 w 1430"/>
              <a:gd name="T9" fmla="*/ 2147483646 h 1001"/>
              <a:gd name="T10" fmla="*/ 0 w 1430"/>
              <a:gd name="T11" fmla="*/ 1151710975 h 1001"/>
              <a:gd name="T12" fmla="*/ 47883763 w 1430"/>
              <a:gd name="T13" fmla="*/ 1139110983 h 10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430" h="1001">
                <a:moveTo>
                  <a:pt x="19" y="452"/>
                </a:moveTo>
                <a:lnTo>
                  <a:pt x="1206" y="3"/>
                </a:lnTo>
                <a:lnTo>
                  <a:pt x="1208" y="0"/>
                </a:lnTo>
                <a:lnTo>
                  <a:pt x="1430" y="460"/>
                </a:lnTo>
                <a:lnTo>
                  <a:pt x="0" y="1001"/>
                </a:lnTo>
                <a:lnTo>
                  <a:pt x="0" y="457"/>
                </a:lnTo>
                <a:lnTo>
                  <a:pt x="19" y="452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6"/>
          <p:cNvSpPr>
            <a:spLocks/>
          </p:cNvSpPr>
          <p:nvPr/>
        </p:nvSpPr>
        <p:spPr bwMode="auto">
          <a:xfrm>
            <a:off x="490644" y="3482464"/>
            <a:ext cx="1766190" cy="997077"/>
          </a:xfrm>
          <a:custGeom>
            <a:avLst/>
            <a:gdLst>
              <a:gd name="T0" fmla="*/ 2147483646 w 1430"/>
              <a:gd name="T1" fmla="*/ 1139110983 h 1001"/>
              <a:gd name="T2" fmla="*/ 572076263 w 1430"/>
              <a:gd name="T3" fmla="*/ 7559677 h 1001"/>
              <a:gd name="T4" fmla="*/ 567035950 w 1430"/>
              <a:gd name="T5" fmla="*/ 0 h 1001"/>
              <a:gd name="T6" fmla="*/ 0 w 1430"/>
              <a:gd name="T7" fmla="*/ 1159272240 h 1001"/>
              <a:gd name="T8" fmla="*/ 2147483646 w 1430"/>
              <a:gd name="T9" fmla="*/ 2147483646 h 1001"/>
              <a:gd name="T10" fmla="*/ 2147483646 w 1430"/>
              <a:gd name="T11" fmla="*/ 1151710975 h 1001"/>
              <a:gd name="T12" fmla="*/ 2147483646 w 1430"/>
              <a:gd name="T13" fmla="*/ 1139110983 h 100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430" h="1001">
                <a:moveTo>
                  <a:pt x="1414" y="452"/>
                </a:moveTo>
                <a:lnTo>
                  <a:pt x="227" y="3"/>
                </a:lnTo>
                <a:lnTo>
                  <a:pt x="225" y="0"/>
                </a:lnTo>
                <a:lnTo>
                  <a:pt x="0" y="460"/>
                </a:lnTo>
                <a:lnTo>
                  <a:pt x="1430" y="1001"/>
                </a:lnTo>
                <a:lnTo>
                  <a:pt x="1430" y="457"/>
                </a:lnTo>
                <a:lnTo>
                  <a:pt x="1414" y="452"/>
                </a:lnTo>
                <a:close/>
              </a:path>
            </a:pathLst>
          </a:custGeom>
          <a:solidFill>
            <a:srgbClr val="9DE4E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Rectangle 22"/>
          <p:cNvSpPr>
            <a:spLocks noChangeArrowheads="1"/>
          </p:cNvSpPr>
          <p:nvPr/>
        </p:nvSpPr>
        <p:spPr bwMode="auto">
          <a:xfrm>
            <a:off x="4719790" y="3907991"/>
            <a:ext cx="30823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Open Sans Semibold" panose="020B0706030804020204" pitchFamily="34" charset="0"/>
              </a:rPr>
              <a:t>6</a:t>
            </a:r>
            <a:endParaRPr lang="en-US" altLang="en-US" sz="1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719790" y="3342421"/>
            <a:ext cx="27286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aging System Function</a:t>
            </a:r>
            <a:endParaRPr lang="en-US" altLang="en-US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reeform 33"/>
          <p:cNvSpPr>
            <a:spLocks noEditPoints="1"/>
          </p:cNvSpPr>
          <p:nvPr/>
        </p:nvSpPr>
        <p:spPr bwMode="auto">
          <a:xfrm>
            <a:off x="2025844" y="1544447"/>
            <a:ext cx="589800" cy="370007"/>
          </a:xfrm>
          <a:custGeom>
            <a:avLst/>
            <a:gdLst>
              <a:gd name="T0" fmla="*/ 2147483646 w 182"/>
              <a:gd name="T1" fmla="*/ 1055615288 h 121"/>
              <a:gd name="T2" fmla="*/ 1104520640 w 182"/>
              <a:gd name="T3" fmla="*/ 485917954 h 121"/>
              <a:gd name="T4" fmla="*/ 1037581854 w 182"/>
              <a:gd name="T5" fmla="*/ 335117524 h 121"/>
              <a:gd name="T6" fmla="*/ 2147483646 w 182"/>
              <a:gd name="T7" fmla="*/ 201071333 h 121"/>
              <a:gd name="T8" fmla="*/ 2147483646 w 182"/>
              <a:gd name="T9" fmla="*/ 50266810 h 121"/>
              <a:gd name="T10" fmla="*/ 2147483646 w 182"/>
              <a:gd name="T11" fmla="*/ 888060620 h 121"/>
              <a:gd name="T12" fmla="*/ 2147483646 w 182"/>
              <a:gd name="T13" fmla="*/ 854548049 h 121"/>
              <a:gd name="T14" fmla="*/ 2147483646 w 182"/>
              <a:gd name="T15" fmla="*/ 0 h 121"/>
              <a:gd name="T16" fmla="*/ 83674504 w 182"/>
              <a:gd name="T17" fmla="*/ 1089127860 h 121"/>
              <a:gd name="T18" fmla="*/ 351437827 w 182"/>
              <a:gd name="T19" fmla="*/ 201071333 h 121"/>
              <a:gd name="T20" fmla="*/ 150617381 w 182"/>
              <a:gd name="T21" fmla="*/ 117291952 h 121"/>
              <a:gd name="T22" fmla="*/ 0 w 182"/>
              <a:gd name="T23" fmla="*/ 1005348479 h 121"/>
              <a:gd name="T24" fmla="*/ 1054317573 w 182"/>
              <a:gd name="T25" fmla="*/ 1692337765 h 121"/>
              <a:gd name="T26" fmla="*/ 937171631 w 182"/>
              <a:gd name="T27" fmla="*/ 1843142288 h 121"/>
              <a:gd name="T28" fmla="*/ 1104520640 w 182"/>
              <a:gd name="T29" fmla="*/ 1977188479 h 121"/>
              <a:gd name="T30" fmla="*/ 1221666582 w 182"/>
              <a:gd name="T31" fmla="*/ 1843142288 h 121"/>
              <a:gd name="T32" fmla="*/ 702875655 w 182"/>
              <a:gd name="T33" fmla="*/ 1843142288 h 121"/>
              <a:gd name="T34" fmla="*/ 970638978 w 182"/>
              <a:gd name="T35" fmla="*/ 1491270526 h 121"/>
              <a:gd name="T36" fmla="*/ 736347093 w 182"/>
              <a:gd name="T37" fmla="*/ 1608558384 h 121"/>
              <a:gd name="T38" fmla="*/ 451848051 w 182"/>
              <a:gd name="T39" fmla="*/ 1491270526 h 121"/>
              <a:gd name="T40" fmla="*/ 619201151 w 182"/>
              <a:gd name="T41" fmla="*/ 1642070955 h 121"/>
              <a:gd name="T42" fmla="*/ 769818531 w 182"/>
              <a:gd name="T43" fmla="*/ 1290199193 h 121"/>
              <a:gd name="T44" fmla="*/ 535526646 w 182"/>
              <a:gd name="T45" fmla="*/ 1407491145 h 121"/>
              <a:gd name="T46" fmla="*/ 418380704 w 182"/>
              <a:gd name="T47" fmla="*/ 1424245383 h 121"/>
              <a:gd name="T48" fmla="*/ 401644985 w 182"/>
              <a:gd name="T49" fmla="*/ 1089127860 h 121"/>
              <a:gd name="T50" fmla="*/ 334702108 w 182"/>
              <a:gd name="T51" fmla="*/ 1172907240 h 121"/>
              <a:gd name="T52" fmla="*/ 267763323 w 182"/>
              <a:gd name="T53" fmla="*/ 1407491145 h 121"/>
              <a:gd name="T54" fmla="*/ 2147483646 w 182"/>
              <a:gd name="T55" fmla="*/ 1256686621 h 121"/>
              <a:gd name="T56" fmla="*/ 1539637062 w 182"/>
              <a:gd name="T57" fmla="*/ 469163715 h 121"/>
              <a:gd name="T58" fmla="*/ 1104520640 w 182"/>
              <a:gd name="T59" fmla="*/ 569697335 h 121"/>
              <a:gd name="T60" fmla="*/ 987374697 w 182"/>
              <a:gd name="T61" fmla="*/ 268092382 h 121"/>
              <a:gd name="T62" fmla="*/ 485319489 w 182"/>
              <a:gd name="T63" fmla="*/ 971840001 h 121"/>
              <a:gd name="T64" fmla="*/ 803289969 w 182"/>
              <a:gd name="T65" fmla="*/ 1223174050 h 121"/>
              <a:gd name="T66" fmla="*/ 1087784920 w 182"/>
              <a:gd name="T67" fmla="*/ 1575049907 h 121"/>
              <a:gd name="T68" fmla="*/ 1355548244 w 182"/>
              <a:gd name="T69" fmla="*/ 1859896527 h 121"/>
              <a:gd name="T70" fmla="*/ 1439226839 w 182"/>
              <a:gd name="T71" fmla="*/ 1893409098 h 121"/>
              <a:gd name="T72" fmla="*/ 1522901343 w 182"/>
              <a:gd name="T73" fmla="*/ 1725850336 h 121"/>
              <a:gd name="T74" fmla="*/ 1255138020 w 182"/>
              <a:gd name="T75" fmla="*/ 1457757955 h 121"/>
              <a:gd name="T76" fmla="*/ 1706990162 w 182"/>
              <a:gd name="T77" fmla="*/ 1742604575 h 121"/>
              <a:gd name="T78" fmla="*/ 1773928947 w 182"/>
              <a:gd name="T79" fmla="*/ 1541537336 h 121"/>
              <a:gd name="T80" fmla="*/ 1556372781 w 182"/>
              <a:gd name="T81" fmla="*/ 1357220241 h 121"/>
              <a:gd name="T82" fmla="*/ 1606575848 w 182"/>
              <a:gd name="T83" fmla="*/ 1290199193 h 121"/>
              <a:gd name="T84" fmla="*/ 2091899427 w 182"/>
              <a:gd name="T85" fmla="*/ 1508024764 h 121"/>
              <a:gd name="T86" fmla="*/ 1974749394 w 182"/>
              <a:gd name="T87" fmla="*/ 1273444954 h 121"/>
              <a:gd name="T88" fmla="*/ 1807400385 w 182"/>
              <a:gd name="T89" fmla="*/ 1089127860 h 121"/>
              <a:gd name="T90" fmla="*/ 2147483646 w 182"/>
              <a:gd name="T91" fmla="*/ 1256686621 h 12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82" h="121">
                <a:moveTo>
                  <a:pt x="144" y="12"/>
                </a:moveTo>
                <a:cubicBezTo>
                  <a:pt x="161" y="54"/>
                  <a:pt x="161" y="54"/>
                  <a:pt x="161" y="54"/>
                </a:cubicBezTo>
                <a:cubicBezTo>
                  <a:pt x="140" y="63"/>
                  <a:pt x="140" y="63"/>
                  <a:pt x="140" y="63"/>
                </a:cubicBezTo>
                <a:cubicBezTo>
                  <a:pt x="129" y="53"/>
                  <a:pt x="95" y="24"/>
                  <a:pt x="92" y="24"/>
                </a:cubicBezTo>
                <a:cubicBezTo>
                  <a:pt x="90" y="24"/>
                  <a:pt x="79" y="27"/>
                  <a:pt x="78" y="28"/>
                </a:cubicBezTo>
                <a:cubicBezTo>
                  <a:pt x="78" y="28"/>
                  <a:pt x="72" y="29"/>
                  <a:pt x="66" y="29"/>
                </a:cubicBezTo>
                <a:cubicBezTo>
                  <a:pt x="63" y="29"/>
                  <a:pt x="61" y="29"/>
                  <a:pt x="60" y="28"/>
                </a:cubicBezTo>
                <a:cubicBezTo>
                  <a:pt x="59" y="27"/>
                  <a:pt x="58" y="26"/>
                  <a:pt x="58" y="25"/>
                </a:cubicBezTo>
                <a:cubicBezTo>
                  <a:pt x="58" y="23"/>
                  <a:pt x="61" y="21"/>
                  <a:pt x="62" y="20"/>
                </a:cubicBezTo>
                <a:cubicBezTo>
                  <a:pt x="71" y="15"/>
                  <a:pt x="95" y="6"/>
                  <a:pt x="97" y="6"/>
                </a:cubicBezTo>
                <a:cubicBezTo>
                  <a:pt x="97" y="6"/>
                  <a:pt x="97" y="6"/>
                  <a:pt x="98" y="6"/>
                </a:cubicBezTo>
                <a:cubicBezTo>
                  <a:pt x="103" y="6"/>
                  <a:pt x="140" y="11"/>
                  <a:pt x="144" y="12"/>
                </a:cubicBezTo>
                <a:close/>
                <a:moveTo>
                  <a:pt x="159" y="0"/>
                </a:moveTo>
                <a:cubicBezTo>
                  <a:pt x="159" y="0"/>
                  <a:pt x="158" y="0"/>
                  <a:pt x="158" y="0"/>
                </a:cubicBezTo>
                <a:cubicBezTo>
                  <a:pt x="151" y="3"/>
                  <a:pt x="151" y="3"/>
                  <a:pt x="151" y="3"/>
                </a:cubicBezTo>
                <a:cubicBezTo>
                  <a:pt x="149" y="3"/>
                  <a:pt x="149" y="4"/>
                  <a:pt x="148" y="5"/>
                </a:cubicBezTo>
                <a:cubicBezTo>
                  <a:pt x="148" y="7"/>
                  <a:pt x="147" y="8"/>
                  <a:pt x="148" y="9"/>
                </a:cubicBezTo>
                <a:cubicBezTo>
                  <a:pt x="165" y="53"/>
                  <a:pt x="165" y="53"/>
                  <a:pt x="165" y="53"/>
                </a:cubicBezTo>
                <a:cubicBezTo>
                  <a:pt x="166" y="55"/>
                  <a:pt x="169" y="57"/>
                  <a:pt x="171" y="56"/>
                </a:cubicBezTo>
                <a:cubicBezTo>
                  <a:pt x="178" y="53"/>
                  <a:pt x="178" y="53"/>
                  <a:pt x="178" y="53"/>
                </a:cubicBezTo>
                <a:cubicBezTo>
                  <a:pt x="180" y="53"/>
                  <a:pt x="181" y="52"/>
                  <a:pt x="181" y="51"/>
                </a:cubicBezTo>
                <a:cubicBezTo>
                  <a:pt x="181" y="49"/>
                  <a:pt x="182" y="48"/>
                  <a:pt x="181" y="47"/>
                </a:cubicBezTo>
                <a:cubicBezTo>
                  <a:pt x="164" y="3"/>
                  <a:pt x="164" y="3"/>
                  <a:pt x="164" y="3"/>
                </a:cubicBezTo>
                <a:cubicBezTo>
                  <a:pt x="163" y="1"/>
                  <a:pt x="161" y="0"/>
                  <a:pt x="159" y="0"/>
                </a:cubicBezTo>
                <a:close/>
                <a:moveTo>
                  <a:pt x="0" y="60"/>
                </a:moveTo>
                <a:cubicBezTo>
                  <a:pt x="0" y="62"/>
                  <a:pt x="1" y="63"/>
                  <a:pt x="1" y="64"/>
                </a:cubicBezTo>
                <a:cubicBezTo>
                  <a:pt x="2" y="65"/>
                  <a:pt x="3" y="65"/>
                  <a:pt x="5" y="65"/>
                </a:cubicBezTo>
                <a:cubicBezTo>
                  <a:pt x="12" y="66"/>
                  <a:pt x="12" y="66"/>
                  <a:pt x="12" y="66"/>
                </a:cubicBezTo>
                <a:cubicBezTo>
                  <a:pt x="15" y="66"/>
                  <a:pt x="17" y="64"/>
                  <a:pt x="17" y="62"/>
                </a:cubicBezTo>
                <a:cubicBezTo>
                  <a:pt x="21" y="12"/>
                  <a:pt x="21" y="12"/>
                  <a:pt x="21" y="12"/>
                </a:cubicBezTo>
                <a:cubicBezTo>
                  <a:pt x="21" y="11"/>
                  <a:pt x="21" y="10"/>
                  <a:pt x="20" y="9"/>
                </a:cubicBezTo>
                <a:cubicBezTo>
                  <a:pt x="19" y="8"/>
                  <a:pt x="18" y="7"/>
                  <a:pt x="17" y="7"/>
                </a:cubicBezTo>
                <a:cubicBezTo>
                  <a:pt x="9" y="7"/>
                  <a:pt x="9" y="7"/>
                  <a:pt x="9" y="7"/>
                </a:cubicBezTo>
                <a:cubicBezTo>
                  <a:pt x="9" y="6"/>
                  <a:pt x="9" y="6"/>
                  <a:pt x="9" y="6"/>
                </a:cubicBezTo>
                <a:cubicBezTo>
                  <a:pt x="6" y="6"/>
                  <a:pt x="4" y="8"/>
                  <a:pt x="4" y="11"/>
                </a:cubicBezTo>
                <a:lnTo>
                  <a:pt x="0" y="60"/>
                </a:lnTo>
                <a:close/>
                <a:moveTo>
                  <a:pt x="75" y="104"/>
                </a:moveTo>
                <a:cubicBezTo>
                  <a:pt x="74" y="103"/>
                  <a:pt x="73" y="101"/>
                  <a:pt x="72" y="100"/>
                </a:cubicBezTo>
                <a:cubicBezTo>
                  <a:pt x="69" y="97"/>
                  <a:pt x="66" y="98"/>
                  <a:pt x="63" y="101"/>
                </a:cubicBezTo>
                <a:cubicBezTo>
                  <a:pt x="59" y="105"/>
                  <a:pt x="59" y="105"/>
                  <a:pt x="59" y="105"/>
                </a:cubicBezTo>
                <a:cubicBezTo>
                  <a:pt x="59" y="106"/>
                  <a:pt x="59" y="106"/>
                  <a:pt x="59" y="106"/>
                </a:cubicBezTo>
                <a:cubicBezTo>
                  <a:pt x="56" y="110"/>
                  <a:pt x="56" y="110"/>
                  <a:pt x="56" y="110"/>
                </a:cubicBezTo>
                <a:cubicBezTo>
                  <a:pt x="52" y="114"/>
                  <a:pt x="56" y="118"/>
                  <a:pt x="57" y="119"/>
                </a:cubicBezTo>
                <a:cubicBezTo>
                  <a:pt x="59" y="120"/>
                  <a:pt x="60" y="121"/>
                  <a:pt x="61" y="121"/>
                </a:cubicBezTo>
                <a:cubicBezTo>
                  <a:pt x="63" y="121"/>
                  <a:pt x="65" y="120"/>
                  <a:pt x="66" y="118"/>
                </a:cubicBezTo>
                <a:cubicBezTo>
                  <a:pt x="71" y="112"/>
                  <a:pt x="71" y="112"/>
                  <a:pt x="71" y="112"/>
                </a:cubicBezTo>
                <a:cubicBezTo>
                  <a:pt x="71" y="112"/>
                  <a:pt x="71" y="112"/>
                  <a:pt x="71" y="112"/>
                </a:cubicBezTo>
                <a:cubicBezTo>
                  <a:pt x="73" y="110"/>
                  <a:pt x="73" y="110"/>
                  <a:pt x="73" y="110"/>
                </a:cubicBezTo>
                <a:cubicBezTo>
                  <a:pt x="74" y="108"/>
                  <a:pt x="75" y="106"/>
                  <a:pt x="75" y="104"/>
                </a:cubicBezTo>
                <a:close/>
                <a:moveTo>
                  <a:pt x="39" y="102"/>
                </a:moveTo>
                <a:cubicBezTo>
                  <a:pt x="37" y="105"/>
                  <a:pt x="38" y="107"/>
                  <a:pt x="42" y="110"/>
                </a:cubicBezTo>
                <a:cubicBezTo>
                  <a:pt x="45" y="113"/>
                  <a:pt x="48" y="113"/>
                  <a:pt x="51" y="109"/>
                </a:cubicBezTo>
                <a:cubicBezTo>
                  <a:pt x="59" y="99"/>
                  <a:pt x="59" y="99"/>
                  <a:pt x="59" y="99"/>
                </a:cubicBezTo>
                <a:cubicBezTo>
                  <a:pt x="63" y="94"/>
                  <a:pt x="59" y="90"/>
                  <a:pt x="58" y="89"/>
                </a:cubicBezTo>
                <a:cubicBezTo>
                  <a:pt x="55" y="87"/>
                  <a:pt x="52" y="87"/>
                  <a:pt x="49" y="90"/>
                </a:cubicBezTo>
                <a:cubicBezTo>
                  <a:pt x="44" y="96"/>
                  <a:pt x="44" y="96"/>
                  <a:pt x="44" y="96"/>
                </a:cubicBezTo>
                <a:cubicBezTo>
                  <a:pt x="44" y="96"/>
                  <a:pt x="44" y="96"/>
                  <a:pt x="44" y="96"/>
                </a:cubicBezTo>
                <a:cubicBezTo>
                  <a:pt x="44" y="97"/>
                  <a:pt x="44" y="97"/>
                  <a:pt x="44" y="97"/>
                </a:cubicBezTo>
                <a:lnTo>
                  <a:pt x="39" y="102"/>
                </a:lnTo>
                <a:close/>
                <a:moveTo>
                  <a:pt x="27" y="89"/>
                </a:moveTo>
                <a:cubicBezTo>
                  <a:pt x="26" y="91"/>
                  <a:pt x="25" y="93"/>
                  <a:pt x="25" y="94"/>
                </a:cubicBezTo>
                <a:cubicBezTo>
                  <a:pt x="26" y="96"/>
                  <a:pt x="27" y="98"/>
                  <a:pt x="28" y="99"/>
                </a:cubicBezTo>
                <a:cubicBezTo>
                  <a:pt x="31" y="101"/>
                  <a:pt x="35" y="101"/>
                  <a:pt x="37" y="98"/>
                </a:cubicBezTo>
                <a:cubicBezTo>
                  <a:pt x="47" y="86"/>
                  <a:pt x="47" y="86"/>
                  <a:pt x="47" y="86"/>
                </a:cubicBezTo>
                <a:cubicBezTo>
                  <a:pt x="48" y="85"/>
                  <a:pt x="49" y="83"/>
                  <a:pt x="48" y="81"/>
                </a:cubicBezTo>
                <a:cubicBezTo>
                  <a:pt x="48" y="79"/>
                  <a:pt x="47" y="78"/>
                  <a:pt x="46" y="77"/>
                </a:cubicBezTo>
                <a:cubicBezTo>
                  <a:pt x="43" y="74"/>
                  <a:pt x="39" y="74"/>
                  <a:pt x="36" y="78"/>
                </a:cubicBezTo>
                <a:cubicBezTo>
                  <a:pt x="32" y="84"/>
                  <a:pt x="32" y="84"/>
                  <a:pt x="32" y="84"/>
                </a:cubicBezTo>
                <a:cubicBezTo>
                  <a:pt x="32" y="84"/>
                  <a:pt x="32" y="84"/>
                  <a:pt x="32" y="84"/>
                </a:cubicBezTo>
                <a:cubicBezTo>
                  <a:pt x="31" y="84"/>
                  <a:pt x="31" y="84"/>
                  <a:pt x="31" y="84"/>
                </a:cubicBezTo>
                <a:lnTo>
                  <a:pt x="27" y="89"/>
                </a:lnTo>
                <a:close/>
                <a:moveTo>
                  <a:pt x="25" y="85"/>
                </a:moveTo>
                <a:cubicBezTo>
                  <a:pt x="34" y="74"/>
                  <a:pt x="34" y="74"/>
                  <a:pt x="34" y="74"/>
                </a:cubicBezTo>
                <a:cubicBezTo>
                  <a:pt x="38" y="69"/>
                  <a:pt x="34" y="65"/>
                  <a:pt x="33" y="64"/>
                </a:cubicBezTo>
                <a:cubicBezTo>
                  <a:pt x="30" y="62"/>
                  <a:pt x="27" y="62"/>
                  <a:pt x="24" y="65"/>
                </a:cubicBezTo>
                <a:cubicBezTo>
                  <a:pt x="21" y="69"/>
                  <a:pt x="21" y="69"/>
                  <a:pt x="21" y="69"/>
                </a:cubicBezTo>
                <a:cubicBezTo>
                  <a:pt x="21" y="69"/>
                  <a:pt x="21" y="69"/>
                  <a:pt x="21" y="69"/>
                </a:cubicBezTo>
                <a:cubicBezTo>
                  <a:pt x="20" y="70"/>
                  <a:pt x="20" y="70"/>
                  <a:pt x="20" y="70"/>
                </a:cubicBezTo>
                <a:cubicBezTo>
                  <a:pt x="16" y="75"/>
                  <a:pt x="16" y="75"/>
                  <a:pt x="16" y="75"/>
                </a:cubicBezTo>
                <a:cubicBezTo>
                  <a:pt x="15" y="77"/>
                  <a:pt x="14" y="79"/>
                  <a:pt x="14" y="80"/>
                </a:cubicBezTo>
                <a:cubicBezTo>
                  <a:pt x="14" y="82"/>
                  <a:pt x="15" y="83"/>
                  <a:pt x="16" y="84"/>
                </a:cubicBezTo>
                <a:cubicBezTo>
                  <a:pt x="18" y="85"/>
                  <a:pt x="19" y="87"/>
                  <a:pt x="21" y="87"/>
                </a:cubicBezTo>
                <a:cubicBezTo>
                  <a:pt x="23" y="87"/>
                  <a:pt x="24" y="86"/>
                  <a:pt x="25" y="85"/>
                </a:cubicBezTo>
                <a:close/>
                <a:moveTo>
                  <a:pt x="138" y="75"/>
                </a:moveTo>
                <a:cubicBezTo>
                  <a:pt x="140" y="73"/>
                  <a:pt x="141" y="69"/>
                  <a:pt x="137" y="66"/>
                </a:cubicBezTo>
                <a:cubicBezTo>
                  <a:pt x="133" y="62"/>
                  <a:pt x="133" y="62"/>
                  <a:pt x="133" y="62"/>
                </a:cubicBezTo>
                <a:cubicBezTo>
                  <a:pt x="116" y="48"/>
                  <a:pt x="96" y="31"/>
                  <a:pt x="92" y="28"/>
                </a:cubicBezTo>
                <a:cubicBezTo>
                  <a:pt x="90" y="28"/>
                  <a:pt x="84" y="30"/>
                  <a:pt x="80" y="32"/>
                </a:cubicBezTo>
                <a:cubicBezTo>
                  <a:pt x="79" y="32"/>
                  <a:pt x="79" y="32"/>
                  <a:pt x="79" y="32"/>
                </a:cubicBezTo>
                <a:cubicBezTo>
                  <a:pt x="79" y="32"/>
                  <a:pt x="72" y="34"/>
                  <a:pt x="66" y="34"/>
                </a:cubicBezTo>
                <a:cubicBezTo>
                  <a:pt x="62" y="34"/>
                  <a:pt x="60" y="33"/>
                  <a:pt x="58" y="32"/>
                </a:cubicBezTo>
                <a:cubicBezTo>
                  <a:pt x="54" y="30"/>
                  <a:pt x="54" y="27"/>
                  <a:pt x="54" y="25"/>
                </a:cubicBezTo>
                <a:cubicBezTo>
                  <a:pt x="54" y="21"/>
                  <a:pt x="57" y="18"/>
                  <a:pt x="59" y="16"/>
                </a:cubicBezTo>
                <a:cubicBezTo>
                  <a:pt x="25" y="12"/>
                  <a:pt x="25" y="12"/>
                  <a:pt x="25" y="12"/>
                </a:cubicBezTo>
                <a:cubicBezTo>
                  <a:pt x="22" y="62"/>
                  <a:pt x="22" y="62"/>
                  <a:pt x="22" y="62"/>
                </a:cubicBezTo>
                <a:cubicBezTo>
                  <a:pt x="24" y="59"/>
                  <a:pt x="27" y="58"/>
                  <a:pt x="29" y="58"/>
                </a:cubicBezTo>
                <a:cubicBezTo>
                  <a:pt x="31" y="58"/>
                  <a:pt x="34" y="59"/>
                  <a:pt x="36" y="61"/>
                </a:cubicBezTo>
                <a:cubicBezTo>
                  <a:pt x="39" y="64"/>
                  <a:pt x="41" y="67"/>
                  <a:pt x="40" y="71"/>
                </a:cubicBezTo>
                <a:cubicBezTo>
                  <a:pt x="43" y="70"/>
                  <a:pt x="46" y="71"/>
                  <a:pt x="48" y="73"/>
                </a:cubicBezTo>
                <a:cubicBezTo>
                  <a:pt x="52" y="76"/>
                  <a:pt x="53" y="80"/>
                  <a:pt x="53" y="83"/>
                </a:cubicBezTo>
                <a:cubicBezTo>
                  <a:pt x="56" y="83"/>
                  <a:pt x="58" y="84"/>
                  <a:pt x="61" y="86"/>
                </a:cubicBezTo>
                <a:cubicBezTo>
                  <a:pt x="64" y="88"/>
                  <a:pt x="65" y="91"/>
                  <a:pt x="65" y="94"/>
                </a:cubicBezTo>
                <a:cubicBezTo>
                  <a:pt x="68" y="94"/>
                  <a:pt x="72" y="94"/>
                  <a:pt x="75" y="97"/>
                </a:cubicBezTo>
                <a:cubicBezTo>
                  <a:pt x="79" y="100"/>
                  <a:pt x="80" y="104"/>
                  <a:pt x="78" y="109"/>
                </a:cubicBezTo>
                <a:cubicBezTo>
                  <a:pt x="81" y="111"/>
                  <a:pt x="81" y="111"/>
                  <a:pt x="81" y="111"/>
                </a:cubicBezTo>
                <a:cubicBezTo>
                  <a:pt x="82" y="111"/>
                  <a:pt x="82" y="112"/>
                  <a:pt x="82" y="112"/>
                </a:cubicBezTo>
                <a:cubicBezTo>
                  <a:pt x="82" y="112"/>
                  <a:pt x="82" y="112"/>
                  <a:pt x="82" y="112"/>
                </a:cubicBezTo>
                <a:cubicBezTo>
                  <a:pt x="83" y="113"/>
                  <a:pt x="85" y="113"/>
                  <a:pt x="86" y="113"/>
                </a:cubicBezTo>
                <a:cubicBezTo>
                  <a:pt x="88" y="113"/>
                  <a:pt x="90" y="112"/>
                  <a:pt x="91" y="110"/>
                </a:cubicBezTo>
                <a:cubicBezTo>
                  <a:pt x="93" y="108"/>
                  <a:pt x="94" y="106"/>
                  <a:pt x="91" y="103"/>
                </a:cubicBezTo>
                <a:cubicBezTo>
                  <a:pt x="91" y="103"/>
                  <a:pt x="91" y="103"/>
                  <a:pt x="91" y="103"/>
                </a:cubicBezTo>
                <a:cubicBezTo>
                  <a:pt x="76" y="90"/>
                  <a:pt x="76" y="90"/>
                  <a:pt x="76" y="90"/>
                </a:cubicBezTo>
                <a:cubicBezTo>
                  <a:pt x="75" y="90"/>
                  <a:pt x="75" y="89"/>
                  <a:pt x="75" y="88"/>
                </a:cubicBezTo>
                <a:cubicBezTo>
                  <a:pt x="75" y="88"/>
                  <a:pt x="75" y="87"/>
                  <a:pt x="75" y="87"/>
                </a:cubicBezTo>
                <a:cubicBezTo>
                  <a:pt x="76" y="86"/>
                  <a:pt x="78" y="85"/>
                  <a:pt x="79" y="86"/>
                </a:cubicBezTo>
                <a:cubicBezTo>
                  <a:pt x="99" y="103"/>
                  <a:pt x="99" y="103"/>
                  <a:pt x="99" y="103"/>
                </a:cubicBezTo>
                <a:cubicBezTo>
                  <a:pt x="100" y="104"/>
                  <a:pt x="101" y="104"/>
                  <a:pt x="102" y="104"/>
                </a:cubicBezTo>
                <a:cubicBezTo>
                  <a:pt x="104" y="104"/>
                  <a:pt x="106" y="103"/>
                  <a:pt x="108" y="101"/>
                </a:cubicBezTo>
                <a:cubicBezTo>
                  <a:pt x="109" y="100"/>
                  <a:pt x="110" y="98"/>
                  <a:pt x="109" y="97"/>
                </a:cubicBezTo>
                <a:cubicBezTo>
                  <a:pt x="109" y="95"/>
                  <a:pt x="108" y="93"/>
                  <a:pt x="106" y="92"/>
                </a:cubicBezTo>
                <a:cubicBezTo>
                  <a:pt x="104" y="90"/>
                  <a:pt x="104" y="90"/>
                  <a:pt x="104" y="90"/>
                </a:cubicBezTo>
                <a:cubicBezTo>
                  <a:pt x="104" y="90"/>
                  <a:pt x="104" y="90"/>
                  <a:pt x="104" y="90"/>
                </a:cubicBezTo>
                <a:cubicBezTo>
                  <a:pt x="93" y="81"/>
                  <a:pt x="93" y="81"/>
                  <a:pt x="93" y="81"/>
                </a:cubicBezTo>
                <a:cubicBezTo>
                  <a:pt x="92" y="80"/>
                  <a:pt x="92" y="80"/>
                  <a:pt x="92" y="79"/>
                </a:cubicBezTo>
                <a:cubicBezTo>
                  <a:pt x="92" y="78"/>
                  <a:pt x="92" y="78"/>
                  <a:pt x="93" y="77"/>
                </a:cubicBezTo>
                <a:cubicBezTo>
                  <a:pt x="93" y="76"/>
                  <a:pt x="95" y="76"/>
                  <a:pt x="96" y="77"/>
                </a:cubicBezTo>
                <a:cubicBezTo>
                  <a:pt x="114" y="92"/>
                  <a:pt x="114" y="92"/>
                  <a:pt x="114" y="92"/>
                </a:cubicBezTo>
                <a:cubicBezTo>
                  <a:pt x="116" y="93"/>
                  <a:pt x="117" y="93"/>
                  <a:pt x="119" y="93"/>
                </a:cubicBezTo>
                <a:cubicBezTo>
                  <a:pt x="121" y="93"/>
                  <a:pt x="123" y="92"/>
                  <a:pt x="125" y="90"/>
                </a:cubicBezTo>
                <a:cubicBezTo>
                  <a:pt x="126" y="88"/>
                  <a:pt x="127" y="87"/>
                  <a:pt x="127" y="85"/>
                </a:cubicBezTo>
                <a:cubicBezTo>
                  <a:pt x="126" y="83"/>
                  <a:pt x="125" y="82"/>
                  <a:pt x="124" y="80"/>
                </a:cubicBezTo>
                <a:cubicBezTo>
                  <a:pt x="118" y="76"/>
                  <a:pt x="118" y="76"/>
                  <a:pt x="118" y="76"/>
                </a:cubicBezTo>
                <a:cubicBezTo>
                  <a:pt x="118" y="76"/>
                  <a:pt x="118" y="76"/>
                  <a:pt x="118" y="76"/>
                </a:cubicBezTo>
                <a:cubicBezTo>
                  <a:pt x="109" y="68"/>
                  <a:pt x="109" y="68"/>
                  <a:pt x="109" y="68"/>
                </a:cubicBezTo>
                <a:cubicBezTo>
                  <a:pt x="108" y="67"/>
                  <a:pt x="108" y="66"/>
                  <a:pt x="108" y="65"/>
                </a:cubicBezTo>
                <a:cubicBezTo>
                  <a:pt x="109" y="64"/>
                  <a:pt x="111" y="64"/>
                  <a:pt x="112" y="64"/>
                </a:cubicBezTo>
                <a:cubicBezTo>
                  <a:pt x="127" y="77"/>
                  <a:pt x="127" y="77"/>
                  <a:pt x="127" y="77"/>
                </a:cubicBezTo>
                <a:cubicBezTo>
                  <a:pt x="131" y="80"/>
                  <a:pt x="135" y="79"/>
                  <a:pt x="138" y="7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7" name="Freeform 21"/>
          <p:cNvSpPr>
            <a:spLocks noEditPoints="1"/>
          </p:cNvSpPr>
          <p:nvPr/>
        </p:nvSpPr>
        <p:spPr bwMode="auto">
          <a:xfrm>
            <a:off x="2064165" y="2110461"/>
            <a:ext cx="448442" cy="337976"/>
          </a:xfrm>
          <a:custGeom>
            <a:avLst/>
            <a:gdLst>
              <a:gd name="T0" fmla="*/ 23585973 w 196"/>
              <a:gd name="T1" fmla="*/ 1341118097 h 194"/>
              <a:gd name="T2" fmla="*/ 224077051 w 196"/>
              <a:gd name="T3" fmla="*/ 474732862 h 194"/>
              <a:gd name="T4" fmla="*/ 967076425 w 196"/>
              <a:gd name="T5" fmla="*/ 11868149 h 194"/>
              <a:gd name="T6" fmla="*/ 1332679619 w 196"/>
              <a:gd name="T7" fmla="*/ 284839028 h 194"/>
              <a:gd name="T8" fmla="*/ 1049630766 w 196"/>
              <a:gd name="T9" fmla="*/ 545941758 h 194"/>
              <a:gd name="T10" fmla="*/ 566094271 w 196"/>
              <a:gd name="T11" fmla="*/ 1341118097 h 194"/>
              <a:gd name="T12" fmla="*/ 342013786 w 196"/>
              <a:gd name="T13" fmla="*/ 1293642054 h 194"/>
              <a:gd name="T14" fmla="*/ 176905104 w 196"/>
              <a:gd name="T15" fmla="*/ 1388590694 h 194"/>
              <a:gd name="T16" fmla="*/ 70761355 w 196"/>
              <a:gd name="T17" fmla="*/ 1531008485 h 194"/>
              <a:gd name="T18" fmla="*/ 47175381 w 196"/>
              <a:gd name="T19" fmla="*/ 1436063291 h 194"/>
              <a:gd name="T20" fmla="*/ 1710075799 w 196"/>
              <a:gd name="T21" fmla="*/ 1910796153 h 194"/>
              <a:gd name="T22" fmla="*/ 1615725037 w 196"/>
              <a:gd name="T23" fmla="*/ 1566612933 h 194"/>
              <a:gd name="T24" fmla="*/ 1580346077 w 196"/>
              <a:gd name="T25" fmla="*/ 1590352677 h 194"/>
              <a:gd name="T26" fmla="*/ 1533170696 w 196"/>
              <a:gd name="T27" fmla="*/ 1637825274 h 194"/>
              <a:gd name="T28" fmla="*/ 1474202328 w 196"/>
              <a:gd name="T29" fmla="*/ 1673429722 h 194"/>
              <a:gd name="T30" fmla="*/ 1415233960 w 196"/>
              <a:gd name="T31" fmla="*/ 1709034170 h 194"/>
              <a:gd name="T32" fmla="*/ 1344472606 w 196"/>
              <a:gd name="T33" fmla="*/ 1744638618 h 194"/>
              <a:gd name="T34" fmla="*/ 1250121843 w 196"/>
              <a:gd name="T35" fmla="*/ 1768374917 h 194"/>
              <a:gd name="T36" fmla="*/ 1155774515 w 196"/>
              <a:gd name="T37" fmla="*/ 1768374917 h 194"/>
              <a:gd name="T38" fmla="*/ 1073220174 w 196"/>
              <a:gd name="T39" fmla="*/ 1768374917 h 194"/>
              <a:gd name="T40" fmla="*/ 1002458819 w 196"/>
              <a:gd name="T41" fmla="*/ 1756506767 h 194"/>
              <a:gd name="T42" fmla="*/ 919901044 w 196"/>
              <a:gd name="T43" fmla="*/ 1720902319 h 194"/>
              <a:gd name="T44" fmla="*/ 849139689 w 196"/>
              <a:gd name="T45" fmla="*/ 1685297871 h 194"/>
              <a:gd name="T46" fmla="*/ 778378335 w 196"/>
              <a:gd name="T47" fmla="*/ 1649693423 h 194"/>
              <a:gd name="T48" fmla="*/ 719409967 w 196"/>
              <a:gd name="T49" fmla="*/ 1590352677 h 194"/>
              <a:gd name="T50" fmla="*/ 648648612 w 196"/>
              <a:gd name="T51" fmla="*/ 1507272187 h 194"/>
              <a:gd name="T52" fmla="*/ 188698090 w 196"/>
              <a:gd name="T53" fmla="*/ 1780243066 h 194"/>
              <a:gd name="T54" fmla="*/ 884522084 w 196"/>
              <a:gd name="T55" fmla="*/ 2147483646 h 194"/>
              <a:gd name="T56" fmla="*/ 1049630766 w 196"/>
              <a:gd name="T57" fmla="*/ 2147483646 h 194"/>
              <a:gd name="T58" fmla="*/ 1202949896 w 196"/>
              <a:gd name="T59" fmla="*/ 2147483646 h 194"/>
              <a:gd name="T60" fmla="*/ 1332679619 w 196"/>
              <a:gd name="T61" fmla="*/ 2147483646 h 194"/>
              <a:gd name="T62" fmla="*/ 2075675559 w 196"/>
              <a:gd name="T63" fmla="*/ 1839583812 h 194"/>
              <a:gd name="T64" fmla="*/ 2147483646 w 196"/>
              <a:gd name="T65" fmla="*/ 961330429 h 194"/>
              <a:gd name="T66" fmla="*/ 1816216114 w 196"/>
              <a:gd name="T67" fmla="*/ 213630133 h 194"/>
              <a:gd name="T68" fmla="*/ 1297297224 w 196"/>
              <a:gd name="T69" fmla="*/ 11868149 h 194"/>
              <a:gd name="T70" fmla="*/ 1285504238 w 196"/>
              <a:gd name="T71" fmla="*/ 11868149 h 194"/>
              <a:gd name="T72" fmla="*/ 1533170696 w 196"/>
              <a:gd name="T73" fmla="*/ 284839028 h 194"/>
              <a:gd name="T74" fmla="*/ 1273711251 w 196"/>
              <a:gd name="T75" fmla="*/ 545941758 h 194"/>
              <a:gd name="T76" fmla="*/ 1710075799 w 196"/>
              <a:gd name="T77" fmla="*/ 1412326992 h 194"/>
              <a:gd name="T78" fmla="*/ 2147483646 w 196"/>
              <a:gd name="T79" fmla="*/ 1673429722 h 194"/>
              <a:gd name="T80" fmla="*/ 2147483646 w 196"/>
              <a:gd name="T81" fmla="*/ 961330429 h 194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96" h="194">
                <a:moveTo>
                  <a:pt x="4" y="121"/>
                </a:moveTo>
                <a:cubicBezTo>
                  <a:pt x="3" y="118"/>
                  <a:pt x="2" y="116"/>
                  <a:pt x="2" y="113"/>
                </a:cubicBezTo>
                <a:cubicBezTo>
                  <a:pt x="0" y="100"/>
                  <a:pt x="0" y="87"/>
                  <a:pt x="3" y="74"/>
                </a:cubicBezTo>
                <a:cubicBezTo>
                  <a:pt x="6" y="62"/>
                  <a:pt x="12" y="51"/>
                  <a:pt x="19" y="40"/>
                </a:cubicBezTo>
                <a:cubicBezTo>
                  <a:pt x="26" y="30"/>
                  <a:pt x="35" y="22"/>
                  <a:pt x="46" y="15"/>
                </a:cubicBezTo>
                <a:cubicBezTo>
                  <a:pt x="57" y="8"/>
                  <a:pt x="69" y="3"/>
                  <a:pt x="82" y="1"/>
                </a:cubicBezTo>
                <a:cubicBezTo>
                  <a:pt x="86" y="1"/>
                  <a:pt x="89" y="0"/>
                  <a:pt x="93" y="0"/>
                </a:cubicBezTo>
                <a:cubicBezTo>
                  <a:pt x="113" y="24"/>
                  <a:pt x="113" y="24"/>
                  <a:pt x="113" y="24"/>
                </a:cubicBezTo>
                <a:cubicBezTo>
                  <a:pt x="93" y="45"/>
                  <a:pt x="93" y="45"/>
                  <a:pt x="93" y="45"/>
                </a:cubicBezTo>
                <a:cubicBezTo>
                  <a:pt x="92" y="45"/>
                  <a:pt x="91" y="45"/>
                  <a:pt x="89" y="46"/>
                </a:cubicBezTo>
                <a:cubicBezTo>
                  <a:pt x="61" y="50"/>
                  <a:pt x="42" y="77"/>
                  <a:pt x="46" y="106"/>
                </a:cubicBezTo>
                <a:cubicBezTo>
                  <a:pt x="47" y="108"/>
                  <a:pt x="47" y="110"/>
                  <a:pt x="48" y="113"/>
                </a:cubicBezTo>
                <a:cubicBezTo>
                  <a:pt x="48" y="113"/>
                  <a:pt x="48" y="113"/>
                  <a:pt x="48" y="113"/>
                </a:cubicBezTo>
                <a:cubicBezTo>
                  <a:pt x="29" y="109"/>
                  <a:pt x="29" y="109"/>
                  <a:pt x="29" y="109"/>
                </a:cubicBezTo>
                <a:cubicBezTo>
                  <a:pt x="19" y="106"/>
                  <a:pt x="19" y="106"/>
                  <a:pt x="19" y="106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9" y="135"/>
                  <a:pt x="9" y="135"/>
                  <a:pt x="9" y="135"/>
                </a:cubicBezTo>
                <a:cubicBezTo>
                  <a:pt x="8" y="133"/>
                  <a:pt x="7" y="131"/>
                  <a:pt x="6" y="129"/>
                </a:cubicBezTo>
                <a:cubicBezTo>
                  <a:pt x="6" y="128"/>
                  <a:pt x="6" y="127"/>
                  <a:pt x="5" y="127"/>
                </a:cubicBezTo>
                <a:cubicBezTo>
                  <a:pt x="5" y="125"/>
                  <a:pt x="4" y="123"/>
                  <a:pt x="4" y="121"/>
                </a:cubicBezTo>
                <a:close/>
                <a:moveTo>
                  <a:pt x="156" y="159"/>
                </a:moveTo>
                <a:cubicBezTo>
                  <a:pt x="145" y="161"/>
                  <a:pt x="145" y="161"/>
                  <a:pt x="145" y="161"/>
                </a:cubicBezTo>
                <a:cubicBezTo>
                  <a:pt x="142" y="151"/>
                  <a:pt x="142" y="151"/>
                  <a:pt x="142" y="151"/>
                </a:cubicBezTo>
                <a:cubicBezTo>
                  <a:pt x="137" y="132"/>
                  <a:pt x="137" y="132"/>
                  <a:pt x="137" y="132"/>
                </a:cubicBezTo>
                <a:cubicBezTo>
                  <a:pt x="136" y="133"/>
                  <a:pt x="135" y="133"/>
                  <a:pt x="135" y="134"/>
                </a:cubicBezTo>
                <a:cubicBezTo>
                  <a:pt x="134" y="134"/>
                  <a:pt x="134" y="134"/>
                  <a:pt x="134" y="134"/>
                </a:cubicBezTo>
                <a:cubicBezTo>
                  <a:pt x="133" y="135"/>
                  <a:pt x="132" y="136"/>
                  <a:pt x="131" y="137"/>
                </a:cubicBezTo>
                <a:cubicBezTo>
                  <a:pt x="131" y="138"/>
                  <a:pt x="130" y="138"/>
                  <a:pt x="130" y="138"/>
                </a:cubicBezTo>
                <a:cubicBezTo>
                  <a:pt x="129" y="139"/>
                  <a:pt x="128" y="140"/>
                  <a:pt x="127" y="141"/>
                </a:cubicBezTo>
                <a:cubicBezTo>
                  <a:pt x="126" y="141"/>
                  <a:pt x="126" y="141"/>
                  <a:pt x="125" y="141"/>
                </a:cubicBezTo>
                <a:cubicBezTo>
                  <a:pt x="124" y="142"/>
                  <a:pt x="123" y="143"/>
                  <a:pt x="122" y="143"/>
                </a:cubicBezTo>
                <a:cubicBezTo>
                  <a:pt x="121" y="144"/>
                  <a:pt x="121" y="144"/>
                  <a:pt x="120" y="144"/>
                </a:cubicBezTo>
                <a:cubicBezTo>
                  <a:pt x="119" y="145"/>
                  <a:pt x="118" y="145"/>
                  <a:pt x="117" y="146"/>
                </a:cubicBezTo>
                <a:cubicBezTo>
                  <a:pt x="116" y="146"/>
                  <a:pt x="115" y="146"/>
                  <a:pt x="114" y="147"/>
                </a:cubicBezTo>
                <a:cubicBezTo>
                  <a:pt x="113" y="147"/>
                  <a:pt x="113" y="147"/>
                  <a:pt x="112" y="147"/>
                </a:cubicBezTo>
                <a:cubicBezTo>
                  <a:pt x="110" y="148"/>
                  <a:pt x="108" y="148"/>
                  <a:pt x="106" y="149"/>
                </a:cubicBezTo>
                <a:cubicBezTo>
                  <a:pt x="104" y="149"/>
                  <a:pt x="102" y="149"/>
                  <a:pt x="99" y="149"/>
                </a:cubicBezTo>
                <a:cubicBezTo>
                  <a:pt x="99" y="149"/>
                  <a:pt x="99" y="149"/>
                  <a:pt x="98" y="149"/>
                </a:cubicBezTo>
                <a:cubicBezTo>
                  <a:pt x="98" y="149"/>
                  <a:pt x="98" y="149"/>
                  <a:pt x="98" y="149"/>
                </a:cubicBezTo>
                <a:cubicBezTo>
                  <a:pt x="96" y="149"/>
                  <a:pt x="93" y="149"/>
                  <a:pt x="91" y="149"/>
                </a:cubicBezTo>
                <a:cubicBezTo>
                  <a:pt x="91" y="149"/>
                  <a:pt x="91" y="149"/>
                  <a:pt x="91" y="149"/>
                </a:cubicBezTo>
                <a:cubicBezTo>
                  <a:pt x="89" y="148"/>
                  <a:pt x="87" y="148"/>
                  <a:pt x="85" y="148"/>
                </a:cubicBezTo>
                <a:cubicBezTo>
                  <a:pt x="84" y="147"/>
                  <a:pt x="83" y="147"/>
                  <a:pt x="82" y="147"/>
                </a:cubicBezTo>
                <a:cubicBezTo>
                  <a:pt x="81" y="146"/>
                  <a:pt x="80" y="146"/>
                  <a:pt x="78" y="145"/>
                </a:cubicBezTo>
                <a:cubicBezTo>
                  <a:pt x="77" y="145"/>
                  <a:pt x="77" y="145"/>
                  <a:pt x="76" y="144"/>
                </a:cubicBezTo>
                <a:cubicBezTo>
                  <a:pt x="75" y="144"/>
                  <a:pt x="73" y="143"/>
                  <a:pt x="72" y="142"/>
                </a:cubicBezTo>
                <a:cubicBezTo>
                  <a:pt x="71" y="142"/>
                  <a:pt x="71" y="142"/>
                  <a:pt x="70" y="141"/>
                </a:cubicBezTo>
                <a:cubicBezTo>
                  <a:pt x="69" y="140"/>
                  <a:pt x="68" y="140"/>
                  <a:pt x="66" y="139"/>
                </a:cubicBezTo>
                <a:cubicBezTo>
                  <a:pt x="66" y="138"/>
                  <a:pt x="65" y="138"/>
                  <a:pt x="64" y="137"/>
                </a:cubicBezTo>
                <a:cubicBezTo>
                  <a:pt x="63" y="136"/>
                  <a:pt x="62" y="135"/>
                  <a:pt x="61" y="134"/>
                </a:cubicBezTo>
                <a:cubicBezTo>
                  <a:pt x="60" y="134"/>
                  <a:pt x="60" y="133"/>
                  <a:pt x="59" y="133"/>
                </a:cubicBezTo>
                <a:cubicBezTo>
                  <a:pt x="58" y="131"/>
                  <a:pt x="57" y="129"/>
                  <a:pt x="55" y="127"/>
                </a:cubicBezTo>
                <a:cubicBezTo>
                  <a:pt x="26" y="120"/>
                  <a:pt x="26" y="120"/>
                  <a:pt x="26" y="120"/>
                </a:cubicBezTo>
                <a:cubicBezTo>
                  <a:pt x="16" y="150"/>
                  <a:pt x="16" y="150"/>
                  <a:pt x="16" y="150"/>
                </a:cubicBezTo>
                <a:cubicBezTo>
                  <a:pt x="23" y="160"/>
                  <a:pt x="31" y="169"/>
                  <a:pt x="41" y="176"/>
                </a:cubicBezTo>
                <a:cubicBezTo>
                  <a:pt x="51" y="183"/>
                  <a:pt x="63" y="189"/>
                  <a:pt x="75" y="192"/>
                </a:cubicBezTo>
                <a:cubicBezTo>
                  <a:pt x="78" y="192"/>
                  <a:pt x="82" y="193"/>
                  <a:pt x="85" y="193"/>
                </a:cubicBezTo>
                <a:cubicBezTo>
                  <a:pt x="87" y="194"/>
                  <a:pt x="88" y="194"/>
                  <a:pt x="89" y="194"/>
                </a:cubicBezTo>
                <a:cubicBezTo>
                  <a:pt x="91" y="194"/>
                  <a:pt x="94" y="194"/>
                  <a:pt x="96" y="194"/>
                </a:cubicBezTo>
                <a:cubicBezTo>
                  <a:pt x="98" y="194"/>
                  <a:pt x="100" y="194"/>
                  <a:pt x="102" y="194"/>
                </a:cubicBezTo>
                <a:cubicBezTo>
                  <a:pt x="103" y="194"/>
                  <a:pt x="104" y="194"/>
                  <a:pt x="105" y="194"/>
                </a:cubicBezTo>
                <a:cubicBezTo>
                  <a:pt x="108" y="194"/>
                  <a:pt x="110" y="193"/>
                  <a:pt x="113" y="193"/>
                </a:cubicBezTo>
                <a:cubicBezTo>
                  <a:pt x="126" y="191"/>
                  <a:pt x="139" y="186"/>
                  <a:pt x="150" y="179"/>
                </a:cubicBezTo>
                <a:cubicBezTo>
                  <a:pt x="160" y="173"/>
                  <a:pt x="168" y="165"/>
                  <a:pt x="176" y="155"/>
                </a:cubicBezTo>
                <a:lnTo>
                  <a:pt x="156" y="159"/>
                </a:lnTo>
                <a:close/>
                <a:moveTo>
                  <a:pt x="194" y="81"/>
                </a:moveTo>
                <a:cubicBezTo>
                  <a:pt x="191" y="68"/>
                  <a:pt x="187" y="56"/>
                  <a:pt x="180" y="45"/>
                </a:cubicBezTo>
                <a:cubicBezTo>
                  <a:pt x="173" y="35"/>
                  <a:pt x="165" y="26"/>
                  <a:pt x="154" y="18"/>
                </a:cubicBezTo>
                <a:cubicBezTo>
                  <a:pt x="144" y="11"/>
                  <a:pt x="133" y="6"/>
                  <a:pt x="121" y="3"/>
                </a:cubicBezTo>
                <a:cubicBezTo>
                  <a:pt x="117" y="2"/>
                  <a:pt x="113" y="1"/>
                  <a:pt x="110" y="1"/>
                </a:cubicBezTo>
                <a:cubicBezTo>
                  <a:pt x="109" y="1"/>
                  <a:pt x="109" y="1"/>
                  <a:pt x="109" y="1"/>
                </a:cubicBezTo>
                <a:cubicBezTo>
                  <a:pt x="109" y="1"/>
                  <a:pt x="109" y="1"/>
                  <a:pt x="109" y="1"/>
                </a:cubicBezTo>
                <a:cubicBezTo>
                  <a:pt x="122" y="16"/>
                  <a:pt x="122" y="16"/>
                  <a:pt x="122" y="16"/>
                </a:cubicBezTo>
                <a:cubicBezTo>
                  <a:pt x="130" y="24"/>
                  <a:pt x="130" y="24"/>
                  <a:pt x="130" y="24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08" y="46"/>
                  <a:pt x="108" y="46"/>
                  <a:pt x="108" y="46"/>
                </a:cubicBezTo>
                <a:cubicBezTo>
                  <a:pt x="129" y="50"/>
                  <a:pt x="146" y="67"/>
                  <a:pt x="149" y="89"/>
                </a:cubicBezTo>
                <a:cubicBezTo>
                  <a:pt x="151" y="99"/>
                  <a:pt x="149" y="110"/>
                  <a:pt x="145" y="119"/>
                </a:cubicBezTo>
                <a:cubicBezTo>
                  <a:pt x="154" y="147"/>
                  <a:pt x="154" y="147"/>
                  <a:pt x="154" y="147"/>
                </a:cubicBezTo>
                <a:cubicBezTo>
                  <a:pt x="184" y="141"/>
                  <a:pt x="184" y="141"/>
                  <a:pt x="184" y="141"/>
                </a:cubicBezTo>
                <a:cubicBezTo>
                  <a:pt x="188" y="134"/>
                  <a:pt x="190" y="127"/>
                  <a:pt x="192" y="120"/>
                </a:cubicBezTo>
                <a:cubicBezTo>
                  <a:pt x="195" y="107"/>
                  <a:pt x="196" y="94"/>
                  <a:pt x="194" y="8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Freeform 18"/>
          <p:cNvSpPr>
            <a:spLocks noEditPoints="1"/>
          </p:cNvSpPr>
          <p:nvPr/>
        </p:nvSpPr>
        <p:spPr bwMode="auto">
          <a:xfrm>
            <a:off x="2034503" y="2756697"/>
            <a:ext cx="491806" cy="311484"/>
          </a:xfrm>
          <a:custGeom>
            <a:avLst/>
            <a:gdLst>
              <a:gd name="T0" fmla="*/ 341866880 w 215"/>
              <a:gd name="T1" fmla="*/ 1728772068 h 179"/>
              <a:gd name="T2" fmla="*/ 341866880 w 215"/>
              <a:gd name="T3" fmla="*/ 1148567815 h 179"/>
              <a:gd name="T4" fmla="*/ 424385998 w 215"/>
              <a:gd name="T5" fmla="*/ 1065682968 h 179"/>
              <a:gd name="T6" fmla="*/ 565846853 w 215"/>
              <a:gd name="T7" fmla="*/ 1065682968 h 179"/>
              <a:gd name="T8" fmla="*/ 648365971 w 215"/>
              <a:gd name="T9" fmla="*/ 1148567815 h 179"/>
              <a:gd name="T10" fmla="*/ 648365971 w 215"/>
              <a:gd name="T11" fmla="*/ 1728772068 h 179"/>
              <a:gd name="T12" fmla="*/ 565846853 w 215"/>
              <a:gd name="T13" fmla="*/ 1811656916 h 179"/>
              <a:gd name="T14" fmla="*/ 424385998 w 215"/>
              <a:gd name="T15" fmla="*/ 1811656916 h 179"/>
              <a:gd name="T16" fmla="*/ 341866880 w 215"/>
              <a:gd name="T17" fmla="*/ 1728772068 h 179"/>
              <a:gd name="T18" fmla="*/ 931287681 w 215"/>
              <a:gd name="T19" fmla="*/ 864384314 h 179"/>
              <a:gd name="T20" fmla="*/ 848768562 w 215"/>
              <a:gd name="T21" fmla="*/ 947272602 h 179"/>
              <a:gd name="T22" fmla="*/ 848768562 w 215"/>
              <a:gd name="T23" fmla="*/ 1728772068 h 179"/>
              <a:gd name="T24" fmla="*/ 931287681 w 215"/>
              <a:gd name="T25" fmla="*/ 1811656916 h 179"/>
              <a:gd name="T26" fmla="*/ 1072748535 w 215"/>
              <a:gd name="T27" fmla="*/ 1811656916 h 179"/>
              <a:gd name="T28" fmla="*/ 1155267653 w 215"/>
              <a:gd name="T29" fmla="*/ 1728772068 h 179"/>
              <a:gd name="T30" fmla="*/ 1155267653 w 215"/>
              <a:gd name="T31" fmla="*/ 947272602 h 179"/>
              <a:gd name="T32" fmla="*/ 1072748535 w 215"/>
              <a:gd name="T33" fmla="*/ 864384314 h 179"/>
              <a:gd name="T34" fmla="*/ 931287681 w 215"/>
              <a:gd name="T35" fmla="*/ 864384314 h 179"/>
              <a:gd name="T36" fmla="*/ 1438192797 w 215"/>
              <a:gd name="T37" fmla="*/ 686773927 h 179"/>
              <a:gd name="T38" fmla="*/ 1355673678 w 215"/>
              <a:gd name="T39" fmla="*/ 769658774 h 179"/>
              <a:gd name="T40" fmla="*/ 1355673678 w 215"/>
              <a:gd name="T41" fmla="*/ 1728772068 h 179"/>
              <a:gd name="T42" fmla="*/ 1438192797 w 215"/>
              <a:gd name="T43" fmla="*/ 1811656916 h 179"/>
              <a:gd name="T44" fmla="*/ 1579653651 w 215"/>
              <a:gd name="T45" fmla="*/ 1811656916 h 179"/>
              <a:gd name="T46" fmla="*/ 1662172769 w 215"/>
              <a:gd name="T47" fmla="*/ 1728772068 h 179"/>
              <a:gd name="T48" fmla="*/ 1662172769 w 215"/>
              <a:gd name="T49" fmla="*/ 769658774 h 179"/>
              <a:gd name="T50" fmla="*/ 1579653651 w 215"/>
              <a:gd name="T51" fmla="*/ 686773927 h 179"/>
              <a:gd name="T52" fmla="*/ 1438192797 w 215"/>
              <a:gd name="T53" fmla="*/ 686773927 h 179"/>
              <a:gd name="T54" fmla="*/ 1945094479 w 215"/>
              <a:gd name="T55" fmla="*/ 509160099 h 179"/>
              <a:gd name="T56" fmla="*/ 1862575361 w 215"/>
              <a:gd name="T57" fmla="*/ 592044946 h 179"/>
              <a:gd name="T58" fmla="*/ 1862575361 w 215"/>
              <a:gd name="T59" fmla="*/ 1728772068 h 179"/>
              <a:gd name="T60" fmla="*/ 1945094479 w 215"/>
              <a:gd name="T61" fmla="*/ 1811656916 h 179"/>
              <a:gd name="T62" fmla="*/ 2086558767 w 215"/>
              <a:gd name="T63" fmla="*/ 1811656916 h 179"/>
              <a:gd name="T64" fmla="*/ 2147483646 w 215"/>
              <a:gd name="T65" fmla="*/ 1728772068 h 179"/>
              <a:gd name="T66" fmla="*/ 2147483646 w 215"/>
              <a:gd name="T67" fmla="*/ 592044946 h 179"/>
              <a:gd name="T68" fmla="*/ 2086558767 w 215"/>
              <a:gd name="T69" fmla="*/ 509160099 h 179"/>
              <a:gd name="T70" fmla="*/ 1945094479 w 215"/>
              <a:gd name="T71" fmla="*/ 509160099 h 179"/>
              <a:gd name="T72" fmla="*/ 389018209 w 215"/>
              <a:gd name="T73" fmla="*/ 840702929 h 179"/>
              <a:gd name="T74" fmla="*/ 1886152742 w 215"/>
              <a:gd name="T75" fmla="*/ 284180060 h 179"/>
              <a:gd name="T76" fmla="*/ 1921520531 w 215"/>
              <a:gd name="T77" fmla="*/ 355227656 h 179"/>
              <a:gd name="T78" fmla="*/ 2086558767 w 215"/>
              <a:gd name="T79" fmla="*/ 106569673 h 179"/>
              <a:gd name="T80" fmla="*/ 1780056243 w 215"/>
              <a:gd name="T81" fmla="*/ 94725540 h 179"/>
              <a:gd name="T82" fmla="*/ 1827211006 w 215"/>
              <a:gd name="T83" fmla="*/ 177613828 h 179"/>
              <a:gd name="T84" fmla="*/ 365440828 w 215"/>
              <a:gd name="T85" fmla="*/ 734136697 h 179"/>
              <a:gd name="T86" fmla="*/ 389018209 w 215"/>
              <a:gd name="T87" fmla="*/ 840702929 h 179"/>
              <a:gd name="T88" fmla="*/ 2147483646 w 215"/>
              <a:gd name="T89" fmla="*/ 1965589359 h 179"/>
              <a:gd name="T90" fmla="*/ 2147483646 w 215"/>
              <a:gd name="T91" fmla="*/ 1823497608 h 179"/>
              <a:gd name="T92" fmla="*/ 2147483646 w 215"/>
              <a:gd name="T93" fmla="*/ 1906385896 h 179"/>
              <a:gd name="T94" fmla="*/ 212192999 w 215"/>
              <a:gd name="T95" fmla="*/ 1906385896 h 179"/>
              <a:gd name="T96" fmla="*/ 212192999 w 215"/>
              <a:gd name="T97" fmla="*/ 260498675 h 179"/>
              <a:gd name="T98" fmla="*/ 306499091 w 215"/>
              <a:gd name="T99" fmla="*/ 260498675 h 179"/>
              <a:gd name="T100" fmla="*/ 153251262 w 215"/>
              <a:gd name="T101" fmla="*/ 0 h 179"/>
              <a:gd name="T102" fmla="*/ 0 w 215"/>
              <a:gd name="T103" fmla="*/ 260498675 h 179"/>
              <a:gd name="T104" fmla="*/ 94306092 w 215"/>
              <a:gd name="T105" fmla="*/ 260498675 h 179"/>
              <a:gd name="T106" fmla="*/ 94306092 w 215"/>
              <a:gd name="T107" fmla="*/ 1906385896 h 179"/>
              <a:gd name="T108" fmla="*/ 94306092 w 215"/>
              <a:gd name="T109" fmla="*/ 1965589359 h 179"/>
              <a:gd name="T110" fmla="*/ 94306092 w 215"/>
              <a:gd name="T111" fmla="*/ 2024796262 h 179"/>
              <a:gd name="T112" fmla="*/ 2147483646 w 215"/>
              <a:gd name="T113" fmla="*/ 2024796262 h 179"/>
              <a:gd name="T114" fmla="*/ 2147483646 w 215"/>
              <a:gd name="T115" fmla="*/ 2119521802 h 179"/>
              <a:gd name="T116" fmla="*/ 2147483646 w 215"/>
              <a:gd name="T117" fmla="*/ 1965589359 h 17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15" h="179">
                <a:moveTo>
                  <a:pt x="29" y="146"/>
                </a:moveTo>
                <a:cubicBezTo>
                  <a:pt x="29" y="97"/>
                  <a:pt x="29" y="97"/>
                  <a:pt x="29" y="97"/>
                </a:cubicBezTo>
                <a:cubicBezTo>
                  <a:pt x="29" y="93"/>
                  <a:pt x="32" y="90"/>
                  <a:pt x="36" y="90"/>
                </a:cubicBezTo>
                <a:cubicBezTo>
                  <a:pt x="48" y="90"/>
                  <a:pt x="48" y="90"/>
                  <a:pt x="48" y="90"/>
                </a:cubicBezTo>
                <a:cubicBezTo>
                  <a:pt x="52" y="90"/>
                  <a:pt x="55" y="93"/>
                  <a:pt x="55" y="97"/>
                </a:cubicBezTo>
                <a:cubicBezTo>
                  <a:pt x="55" y="146"/>
                  <a:pt x="55" y="146"/>
                  <a:pt x="55" y="146"/>
                </a:cubicBezTo>
                <a:cubicBezTo>
                  <a:pt x="55" y="149"/>
                  <a:pt x="52" y="153"/>
                  <a:pt x="48" y="153"/>
                </a:cubicBezTo>
                <a:cubicBezTo>
                  <a:pt x="36" y="153"/>
                  <a:pt x="36" y="153"/>
                  <a:pt x="36" y="153"/>
                </a:cubicBezTo>
                <a:cubicBezTo>
                  <a:pt x="32" y="153"/>
                  <a:pt x="29" y="149"/>
                  <a:pt x="29" y="146"/>
                </a:cubicBezTo>
                <a:close/>
                <a:moveTo>
                  <a:pt x="79" y="73"/>
                </a:moveTo>
                <a:cubicBezTo>
                  <a:pt x="75" y="73"/>
                  <a:pt x="72" y="76"/>
                  <a:pt x="72" y="80"/>
                </a:cubicBezTo>
                <a:cubicBezTo>
                  <a:pt x="72" y="146"/>
                  <a:pt x="72" y="146"/>
                  <a:pt x="72" y="146"/>
                </a:cubicBezTo>
                <a:cubicBezTo>
                  <a:pt x="72" y="149"/>
                  <a:pt x="75" y="153"/>
                  <a:pt x="79" y="153"/>
                </a:cubicBezTo>
                <a:cubicBezTo>
                  <a:pt x="91" y="153"/>
                  <a:pt x="91" y="153"/>
                  <a:pt x="91" y="153"/>
                </a:cubicBezTo>
                <a:cubicBezTo>
                  <a:pt x="95" y="153"/>
                  <a:pt x="98" y="149"/>
                  <a:pt x="98" y="146"/>
                </a:cubicBezTo>
                <a:cubicBezTo>
                  <a:pt x="98" y="80"/>
                  <a:pt x="98" y="80"/>
                  <a:pt x="98" y="80"/>
                </a:cubicBezTo>
                <a:cubicBezTo>
                  <a:pt x="98" y="76"/>
                  <a:pt x="95" y="73"/>
                  <a:pt x="91" y="73"/>
                </a:cubicBezTo>
                <a:lnTo>
                  <a:pt x="79" y="73"/>
                </a:lnTo>
                <a:close/>
                <a:moveTo>
                  <a:pt x="122" y="58"/>
                </a:moveTo>
                <a:cubicBezTo>
                  <a:pt x="118" y="58"/>
                  <a:pt x="115" y="61"/>
                  <a:pt x="115" y="65"/>
                </a:cubicBezTo>
                <a:cubicBezTo>
                  <a:pt x="115" y="146"/>
                  <a:pt x="115" y="146"/>
                  <a:pt x="115" y="146"/>
                </a:cubicBezTo>
                <a:cubicBezTo>
                  <a:pt x="115" y="149"/>
                  <a:pt x="118" y="153"/>
                  <a:pt x="122" y="153"/>
                </a:cubicBezTo>
                <a:cubicBezTo>
                  <a:pt x="134" y="153"/>
                  <a:pt x="134" y="153"/>
                  <a:pt x="134" y="153"/>
                </a:cubicBezTo>
                <a:cubicBezTo>
                  <a:pt x="138" y="153"/>
                  <a:pt x="141" y="149"/>
                  <a:pt x="141" y="146"/>
                </a:cubicBezTo>
                <a:cubicBezTo>
                  <a:pt x="141" y="65"/>
                  <a:pt x="141" y="65"/>
                  <a:pt x="141" y="65"/>
                </a:cubicBezTo>
                <a:cubicBezTo>
                  <a:pt x="141" y="61"/>
                  <a:pt x="138" y="58"/>
                  <a:pt x="134" y="58"/>
                </a:cubicBezTo>
                <a:lnTo>
                  <a:pt x="122" y="58"/>
                </a:lnTo>
                <a:close/>
                <a:moveTo>
                  <a:pt x="165" y="43"/>
                </a:moveTo>
                <a:cubicBezTo>
                  <a:pt x="161" y="43"/>
                  <a:pt x="158" y="46"/>
                  <a:pt x="158" y="50"/>
                </a:cubicBezTo>
                <a:cubicBezTo>
                  <a:pt x="158" y="146"/>
                  <a:pt x="158" y="146"/>
                  <a:pt x="158" y="146"/>
                </a:cubicBezTo>
                <a:cubicBezTo>
                  <a:pt x="158" y="149"/>
                  <a:pt x="161" y="153"/>
                  <a:pt x="165" y="153"/>
                </a:cubicBezTo>
                <a:cubicBezTo>
                  <a:pt x="177" y="153"/>
                  <a:pt x="177" y="153"/>
                  <a:pt x="177" y="153"/>
                </a:cubicBezTo>
                <a:cubicBezTo>
                  <a:pt x="181" y="153"/>
                  <a:pt x="184" y="149"/>
                  <a:pt x="184" y="146"/>
                </a:cubicBezTo>
                <a:cubicBezTo>
                  <a:pt x="184" y="50"/>
                  <a:pt x="184" y="50"/>
                  <a:pt x="184" y="50"/>
                </a:cubicBezTo>
                <a:cubicBezTo>
                  <a:pt x="184" y="46"/>
                  <a:pt x="181" y="43"/>
                  <a:pt x="177" y="43"/>
                </a:cubicBezTo>
                <a:lnTo>
                  <a:pt x="165" y="43"/>
                </a:lnTo>
                <a:close/>
                <a:moveTo>
                  <a:pt x="33" y="71"/>
                </a:moveTo>
                <a:cubicBezTo>
                  <a:pt x="78" y="63"/>
                  <a:pt x="121" y="47"/>
                  <a:pt x="160" y="24"/>
                </a:cubicBezTo>
                <a:cubicBezTo>
                  <a:pt x="163" y="30"/>
                  <a:pt x="163" y="30"/>
                  <a:pt x="163" y="30"/>
                </a:cubicBezTo>
                <a:cubicBezTo>
                  <a:pt x="177" y="9"/>
                  <a:pt x="177" y="9"/>
                  <a:pt x="177" y="9"/>
                </a:cubicBezTo>
                <a:cubicBezTo>
                  <a:pt x="151" y="8"/>
                  <a:pt x="151" y="8"/>
                  <a:pt x="151" y="8"/>
                </a:cubicBezTo>
                <a:cubicBezTo>
                  <a:pt x="155" y="15"/>
                  <a:pt x="155" y="15"/>
                  <a:pt x="155" y="15"/>
                </a:cubicBezTo>
                <a:cubicBezTo>
                  <a:pt x="118" y="38"/>
                  <a:pt x="76" y="54"/>
                  <a:pt x="31" y="62"/>
                </a:cubicBezTo>
                <a:lnTo>
                  <a:pt x="33" y="71"/>
                </a:lnTo>
                <a:close/>
                <a:moveTo>
                  <a:pt x="215" y="166"/>
                </a:moveTo>
                <a:cubicBezTo>
                  <a:pt x="193" y="154"/>
                  <a:pt x="193" y="154"/>
                  <a:pt x="193" y="154"/>
                </a:cubicBezTo>
                <a:cubicBezTo>
                  <a:pt x="193" y="161"/>
                  <a:pt x="193" y="161"/>
                  <a:pt x="193" y="161"/>
                </a:cubicBezTo>
                <a:cubicBezTo>
                  <a:pt x="18" y="161"/>
                  <a:pt x="18" y="161"/>
                  <a:pt x="18" y="161"/>
                </a:cubicBezTo>
                <a:cubicBezTo>
                  <a:pt x="18" y="22"/>
                  <a:pt x="18" y="22"/>
                  <a:pt x="18" y="22"/>
                </a:cubicBezTo>
                <a:cubicBezTo>
                  <a:pt x="26" y="22"/>
                  <a:pt x="26" y="22"/>
                  <a:pt x="26" y="22"/>
                </a:cubicBezTo>
                <a:cubicBezTo>
                  <a:pt x="13" y="0"/>
                  <a:pt x="13" y="0"/>
                  <a:pt x="13" y="0"/>
                </a:cubicBezTo>
                <a:cubicBezTo>
                  <a:pt x="0" y="22"/>
                  <a:pt x="0" y="22"/>
                  <a:pt x="0" y="22"/>
                </a:cubicBezTo>
                <a:cubicBezTo>
                  <a:pt x="8" y="22"/>
                  <a:pt x="8" y="22"/>
                  <a:pt x="8" y="22"/>
                </a:cubicBezTo>
                <a:cubicBezTo>
                  <a:pt x="8" y="161"/>
                  <a:pt x="8" y="161"/>
                  <a:pt x="8" y="161"/>
                </a:cubicBezTo>
                <a:cubicBezTo>
                  <a:pt x="8" y="166"/>
                  <a:pt x="8" y="166"/>
                  <a:pt x="8" y="166"/>
                </a:cubicBezTo>
                <a:cubicBezTo>
                  <a:pt x="8" y="171"/>
                  <a:pt x="8" y="171"/>
                  <a:pt x="8" y="171"/>
                </a:cubicBezTo>
                <a:cubicBezTo>
                  <a:pt x="193" y="171"/>
                  <a:pt x="193" y="171"/>
                  <a:pt x="193" y="171"/>
                </a:cubicBezTo>
                <a:cubicBezTo>
                  <a:pt x="193" y="179"/>
                  <a:pt x="193" y="179"/>
                  <a:pt x="193" y="179"/>
                </a:cubicBezTo>
                <a:lnTo>
                  <a:pt x="215" y="16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Freeform 19"/>
          <p:cNvSpPr>
            <a:spLocks noEditPoints="1"/>
          </p:cNvSpPr>
          <p:nvPr/>
        </p:nvSpPr>
        <p:spPr bwMode="auto">
          <a:xfrm>
            <a:off x="2034190" y="3373979"/>
            <a:ext cx="475940" cy="325131"/>
          </a:xfrm>
          <a:custGeom>
            <a:avLst/>
            <a:gdLst>
              <a:gd name="T0" fmla="*/ 1521653095 w 208"/>
              <a:gd name="T1" fmla="*/ 295524101 h 187"/>
              <a:gd name="T2" fmla="*/ 1085211184 w 208"/>
              <a:gd name="T3" fmla="*/ 130031430 h 187"/>
              <a:gd name="T4" fmla="*/ 778521067 w 208"/>
              <a:gd name="T5" fmla="*/ 295524101 h 187"/>
              <a:gd name="T6" fmla="*/ 1403695358 w 208"/>
              <a:gd name="T7" fmla="*/ 0 h 187"/>
              <a:gd name="T8" fmla="*/ 365667269 w 208"/>
              <a:gd name="T9" fmla="*/ 1229384936 h 187"/>
              <a:gd name="T10" fmla="*/ 990844994 w 208"/>
              <a:gd name="T11" fmla="*/ 1134814748 h 187"/>
              <a:gd name="T12" fmla="*/ 1344714772 w 208"/>
              <a:gd name="T13" fmla="*/ 1016607171 h 187"/>
              <a:gd name="T14" fmla="*/ 1462672509 w 208"/>
              <a:gd name="T15" fmla="*/ 1229384936 h 187"/>
              <a:gd name="T16" fmla="*/ 2147483646 w 208"/>
              <a:gd name="T17" fmla="*/ 874755327 h 187"/>
              <a:gd name="T18" fmla="*/ 2147483646 w 208"/>
              <a:gd name="T19" fmla="*/ 354629609 h 187"/>
              <a:gd name="T20" fmla="*/ 1969892497 w 208"/>
              <a:gd name="T21" fmla="*/ 354629609 h 187"/>
              <a:gd name="T22" fmla="*/ 1757568570 w 208"/>
              <a:gd name="T23" fmla="*/ 354629609 h 187"/>
              <a:gd name="T24" fmla="*/ 1509855604 w 208"/>
              <a:gd name="T25" fmla="*/ 354629609 h 187"/>
              <a:gd name="T26" fmla="*/ 766723576 w 208"/>
              <a:gd name="T27" fmla="*/ 354629609 h 187"/>
              <a:gd name="T28" fmla="*/ 471830950 w 208"/>
              <a:gd name="T29" fmla="*/ 354629609 h 187"/>
              <a:gd name="T30" fmla="*/ 283098570 w 208"/>
              <a:gd name="T31" fmla="*/ 354629609 h 187"/>
              <a:gd name="T32" fmla="*/ 0 w 208"/>
              <a:gd name="T33" fmla="*/ 874755327 h 187"/>
              <a:gd name="T34" fmla="*/ 2087850234 w 208"/>
              <a:gd name="T35" fmla="*/ 1323951686 h 187"/>
              <a:gd name="T36" fmla="*/ 1462672509 w 208"/>
              <a:gd name="T37" fmla="*/ 1418521874 h 187"/>
              <a:gd name="T38" fmla="*/ 1108802731 w 208"/>
              <a:gd name="T39" fmla="*/ 1536729451 h 187"/>
              <a:gd name="T40" fmla="*/ 990844994 w 208"/>
              <a:gd name="T41" fmla="*/ 1323951686 h 187"/>
              <a:gd name="T42" fmla="*/ 0 w 208"/>
              <a:gd name="T43" fmla="*/ 1111173921 h 187"/>
              <a:gd name="T44" fmla="*/ 283098570 w 208"/>
              <a:gd name="T45" fmla="*/ 2147483646 h 187"/>
              <a:gd name="T46" fmla="*/ 471830950 w 208"/>
              <a:gd name="T47" fmla="*/ 2147483646 h 187"/>
              <a:gd name="T48" fmla="*/ 1863728816 w 208"/>
              <a:gd name="T49" fmla="*/ 2147483646 h 187"/>
              <a:gd name="T50" fmla="*/ 2028869648 w 208"/>
              <a:gd name="T51" fmla="*/ 2147483646 h 187"/>
              <a:gd name="T52" fmla="*/ 2147483646 w 208"/>
              <a:gd name="T53" fmla="*/ 1879538646 h 187"/>
              <a:gd name="T54" fmla="*/ 2087850234 w 208"/>
              <a:gd name="T55" fmla="*/ 1323951686 h 187"/>
              <a:gd name="T56" fmla="*/ 1108802731 w 208"/>
              <a:gd name="T57" fmla="*/ 1111173921 h 187"/>
              <a:gd name="T58" fmla="*/ 1073413693 w 208"/>
              <a:gd name="T59" fmla="*/ 1205740670 h 187"/>
              <a:gd name="T60" fmla="*/ 1073413693 w 208"/>
              <a:gd name="T61" fmla="*/ 1312131272 h 187"/>
              <a:gd name="T62" fmla="*/ 1073413693 w 208"/>
              <a:gd name="T63" fmla="*/ 1406698022 h 187"/>
              <a:gd name="T64" fmla="*/ 1344714772 w 208"/>
              <a:gd name="T65" fmla="*/ 1453983116 h 187"/>
              <a:gd name="T66" fmla="*/ 1380103810 w 208"/>
              <a:gd name="T67" fmla="*/ 1347595952 h 187"/>
              <a:gd name="T68" fmla="*/ 1380103810 w 208"/>
              <a:gd name="T69" fmla="*/ 1241205350 h 187"/>
              <a:gd name="T70" fmla="*/ 1380103810 w 208"/>
              <a:gd name="T71" fmla="*/ 1158459015 h 18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08" h="187">
                <a:moveTo>
                  <a:pt x="141" y="25"/>
                </a:moveTo>
                <a:cubicBezTo>
                  <a:pt x="129" y="25"/>
                  <a:pt x="129" y="25"/>
                  <a:pt x="129" y="25"/>
                </a:cubicBezTo>
                <a:cubicBezTo>
                  <a:pt x="128" y="17"/>
                  <a:pt x="122" y="11"/>
                  <a:pt x="116" y="11"/>
                </a:cubicBezTo>
                <a:cubicBezTo>
                  <a:pt x="92" y="11"/>
                  <a:pt x="92" y="11"/>
                  <a:pt x="92" y="11"/>
                </a:cubicBezTo>
                <a:cubicBezTo>
                  <a:pt x="85" y="11"/>
                  <a:pt x="80" y="17"/>
                  <a:pt x="79" y="25"/>
                </a:cubicBezTo>
                <a:cubicBezTo>
                  <a:pt x="66" y="25"/>
                  <a:pt x="66" y="25"/>
                  <a:pt x="66" y="25"/>
                </a:cubicBezTo>
                <a:cubicBezTo>
                  <a:pt x="67" y="11"/>
                  <a:pt x="77" y="0"/>
                  <a:pt x="89" y="0"/>
                </a:cubicBezTo>
                <a:cubicBezTo>
                  <a:pt x="119" y="0"/>
                  <a:pt x="119" y="0"/>
                  <a:pt x="119" y="0"/>
                </a:cubicBezTo>
                <a:cubicBezTo>
                  <a:pt x="131" y="0"/>
                  <a:pt x="141" y="11"/>
                  <a:pt x="141" y="25"/>
                </a:cubicBezTo>
                <a:close/>
                <a:moveTo>
                  <a:pt x="31" y="104"/>
                </a:moveTo>
                <a:cubicBezTo>
                  <a:pt x="84" y="104"/>
                  <a:pt x="84" y="104"/>
                  <a:pt x="84" y="104"/>
                </a:cubicBezTo>
                <a:cubicBezTo>
                  <a:pt x="84" y="96"/>
                  <a:pt x="84" y="96"/>
                  <a:pt x="84" y="96"/>
                </a:cubicBezTo>
                <a:cubicBezTo>
                  <a:pt x="84" y="91"/>
                  <a:pt x="88" y="86"/>
                  <a:pt x="94" y="86"/>
                </a:cubicBezTo>
                <a:cubicBezTo>
                  <a:pt x="114" y="86"/>
                  <a:pt x="114" y="86"/>
                  <a:pt x="114" y="86"/>
                </a:cubicBezTo>
                <a:cubicBezTo>
                  <a:pt x="120" y="86"/>
                  <a:pt x="124" y="91"/>
                  <a:pt x="124" y="96"/>
                </a:cubicBezTo>
                <a:cubicBezTo>
                  <a:pt x="124" y="104"/>
                  <a:pt x="124" y="104"/>
                  <a:pt x="124" y="104"/>
                </a:cubicBezTo>
                <a:cubicBezTo>
                  <a:pt x="177" y="104"/>
                  <a:pt x="177" y="104"/>
                  <a:pt x="177" y="104"/>
                </a:cubicBezTo>
                <a:cubicBezTo>
                  <a:pt x="192" y="104"/>
                  <a:pt x="205" y="91"/>
                  <a:pt x="208" y="74"/>
                </a:cubicBezTo>
                <a:cubicBezTo>
                  <a:pt x="208" y="58"/>
                  <a:pt x="208" y="58"/>
                  <a:pt x="208" y="58"/>
                </a:cubicBezTo>
                <a:cubicBezTo>
                  <a:pt x="208" y="42"/>
                  <a:pt x="197" y="30"/>
                  <a:pt x="184" y="30"/>
                </a:cubicBezTo>
                <a:cubicBezTo>
                  <a:pt x="172" y="30"/>
                  <a:pt x="172" y="30"/>
                  <a:pt x="172" y="30"/>
                </a:cubicBezTo>
                <a:cubicBezTo>
                  <a:pt x="167" y="30"/>
                  <a:pt x="167" y="30"/>
                  <a:pt x="167" y="30"/>
                </a:cubicBezTo>
                <a:cubicBezTo>
                  <a:pt x="158" y="30"/>
                  <a:pt x="158" y="30"/>
                  <a:pt x="158" y="30"/>
                </a:cubicBezTo>
                <a:cubicBezTo>
                  <a:pt x="149" y="30"/>
                  <a:pt x="149" y="30"/>
                  <a:pt x="149" y="30"/>
                </a:cubicBezTo>
                <a:cubicBezTo>
                  <a:pt x="143" y="30"/>
                  <a:pt x="143" y="30"/>
                  <a:pt x="143" y="30"/>
                </a:cubicBezTo>
                <a:cubicBezTo>
                  <a:pt x="128" y="30"/>
                  <a:pt x="128" y="30"/>
                  <a:pt x="128" y="30"/>
                </a:cubicBezTo>
                <a:cubicBezTo>
                  <a:pt x="80" y="30"/>
                  <a:pt x="80" y="30"/>
                  <a:pt x="80" y="30"/>
                </a:cubicBezTo>
                <a:cubicBezTo>
                  <a:pt x="65" y="30"/>
                  <a:pt x="65" y="30"/>
                  <a:pt x="65" y="30"/>
                </a:cubicBezTo>
                <a:cubicBezTo>
                  <a:pt x="48" y="30"/>
                  <a:pt x="48" y="30"/>
                  <a:pt x="48" y="30"/>
                </a:cubicBezTo>
                <a:cubicBezTo>
                  <a:pt x="40" y="30"/>
                  <a:pt x="40" y="30"/>
                  <a:pt x="40" y="30"/>
                </a:cubicBezTo>
                <a:cubicBezTo>
                  <a:pt x="32" y="30"/>
                  <a:pt x="32" y="30"/>
                  <a:pt x="32" y="30"/>
                </a:cubicBezTo>
                <a:cubicBezTo>
                  <a:pt x="24" y="30"/>
                  <a:pt x="24" y="30"/>
                  <a:pt x="24" y="30"/>
                </a:cubicBezTo>
                <a:cubicBezTo>
                  <a:pt x="11" y="30"/>
                  <a:pt x="0" y="42"/>
                  <a:pt x="0" y="58"/>
                </a:cubicBezTo>
                <a:cubicBezTo>
                  <a:pt x="0" y="74"/>
                  <a:pt x="0" y="74"/>
                  <a:pt x="0" y="74"/>
                </a:cubicBezTo>
                <a:cubicBezTo>
                  <a:pt x="2" y="91"/>
                  <a:pt x="16" y="104"/>
                  <a:pt x="31" y="104"/>
                </a:cubicBezTo>
                <a:close/>
                <a:moveTo>
                  <a:pt x="177" y="112"/>
                </a:moveTo>
                <a:cubicBezTo>
                  <a:pt x="124" y="112"/>
                  <a:pt x="124" y="112"/>
                  <a:pt x="124" y="112"/>
                </a:cubicBezTo>
                <a:cubicBezTo>
                  <a:pt x="124" y="120"/>
                  <a:pt x="124" y="120"/>
                  <a:pt x="124" y="120"/>
                </a:cubicBezTo>
                <a:cubicBezTo>
                  <a:pt x="124" y="125"/>
                  <a:pt x="120" y="130"/>
                  <a:pt x="114" y="130"/>
                </a:cubicBezTo>
                <a:cubicBezTo>
                  <a:pt x="94" y="130"/>
                  <a:pt x="94" y="130"/>
                  <a:pt x="94" y="130"/>
                </a:cubicBezTo>
                <a:cubicBezTo>
                  <a:pt x="88" y="130"/>
                  <a:pt x="84" y="125"/>
                  <a:pt x="84" y="120"/>
                </a:cubicBezTo>
                <a:cubicBezTo>
                  <a:pt x="84" y="112"/>
                  <a:pt x="84" y="112"/>
                  <a:pt x="84" y="112"/>
                </a:cubicBezTo>
                <a:cubicBezTo>
                  <a:pt x="31" y="112"/>
                  <a:pt x="31" y="112"/>
                  <a:pt x="31" y="112"/>
                </a:cubicBezTo>
                <a:cubicBezTo>
                  <a:pt x="18" y="112"/>
                  <a:pt x="7" y="105"/>
                  <a:pt x="0" y="94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4"/>
                  <a:pt x="11" y="187"/>
                  <a:pt x="24" y="187"/>
                </a:cubicBezTo>
                <a:cubicBezTo>
                  <a:pt x="32" y="187"/>
                  <a:pt x="32" y="187"/>
                  <a:pt x="32" y="187"/>
                </a:cubicBezTo>
                <a:cubicBezTo>
                  <a:pt x="40" y="187"/>
                  <a:pt x="40" y="187"/>
                  <a:pt x="40" y="187"/>
                </a:cubicBezTo>
                <a:cubicBezTo>
                  <a:pt x="48" y="187"/>
                  <a:pt x="48" y="187"/>
                  <a:pt x="48" y="187"/>
                </a:cubicBezTo>
                <a:cubicBezTo>
                  <a:pt x="158" y="187"/>
                  <a:pt x="158" y="187"/>
                  <a:pt x="158" y="187"/>
                </a:cubicBezTo>
                <a:cubicBezTo>
                  <a:pt x="167" y="187"/>
                  <a:pt x="167" y="187"/>
                  <a:pt x="167" y="187"/>
                </a:cubicBezTo>
                <a:cubicBezTo>
                  <a:pt x="172" y="187"/>
                  <a:pt x="172" y="187"/>
                  <a:pt x="172" y="187"/>
                </a:cubicBezTo>
                <a:cubicBezTo>
                  <a:pt x="184" y="187"/>
                  <a:pt x="184" y="187"/>
                  <a:pt x="184" y="187"/>
                </a:cubicBezTo>
                <a:cubicBezTo>
                  <a:pt x="197" y="187"/>
                  <a:pt x="208" y="174"/>
                  <a:pt x="208" y="159"/>
                </a:cubicBezTo>
                <a:cubicBezTo>
                  <a:pt x="208" y="94"/>
                  <a:pt x="208" y="94"/>
                  <a:pt x="208" y="94"/>
                </a:cubicBezTo>
                <a:cubicBezTo>
                  <a:pt x="201" y="105"/>
                  <a:pt x="190" y="112"/>
                  <a:pt x="177" y="112"/>
                </a:cubicBezTo>
                <a:close/>
                <a:moveTo>
                  <a:pt x="114" y="94"/>
                </a:moveTo>
                <a:cubicBezTo>
                  <a:pt x="94" y="94"/>
                  <a:pt x="94" y="94"/>
                  <a:pt x="94" y="94"/>
                </a:cubicBezTo>
                <a:cubicBezTo>
                  <a:pt x="92" y="94"/>
                  <a:pt x="91" y="95"/>
                  <a:pt x="91" y="98"/>
                </a:cubicBezTo>
                <a:cubicBezTo>
                  <a:pt x="91" y="102"/>
                  <a:pt x="91" y="102"/>
                  <a:pt x="91" y="102"/>
                </a:cubicBezTo>
                <a:cubicBezTo>
                  <a:pt x="91" y="105"/>
                  <a:pt x="91" y="105"/>
                  <a:pt x="91" y="105"/>
                </a:cubicBezTo>
                <a:cubicBezTo>
                  <a:pt x="91" y="111"/>
                  <a:pt x="91" y="111"/>
                  <a:pt x="91" y="111"/>
                </a:cubicBezTo>
                <a:cubicBezTo>
                  <a:pt x="91" y="114"/>
                  <a:pt x="91" y="114"/>
                  <a:pt x="91" y="114"/>
                </a:cubicBezTo>
                <a:cubicBezTo>
                  <a:pt x="91" y="119"/>
                  <a:pt x="91" y="119"/>
                  <a:pt x="91" y="119"/>
                </a:cubicBezTo>
                <a:cubicBezTo>
                  <a:pt x="91" y="121"/>
                  <a:pt x="92" y="123"/>
                  <a:pt x="94" y="123"/>
                </a:cubicBezTo>
                <a:cubicBezTo>
                  <a:pt x="114" y="123"/>
                  <a:pt x="114" y="123"/>
                  <a:pt x="114" y="123"/>
                </a:cubicBezTo>
                <a:cubicBezTo>
                  <a:pt x="116" y="123"/>
                  <a:pt x="117" y="121"/>
                  <a:pt x="117" y="119"/>
                </a:cubicBezTo>
                <a:cubicBezTo>
                  <a:pt x="117" y="114"/>
                  <a:pt x="117" y="114"/>
                  <a:pt x="117" y="114"/>
                </a:cubicBezTo>
                <a:cubicBezTo>
                  <a:pt x="117" y="111"/>
                  <a:pt x="117" y="111"/>
                  <a:pt x="117" y="111"/>
                </a:cubicBezTo>
                <a:cubicBezTo>
                  <a:pt x="117" y="105"/>
                  <a:pt x="117" y="105"/>
                  <a:pt x="117" y="105"/>
                </a:cubicBezTo>
                <a:cubicBezTo>
                  <a:pt x="117" y="102"/>
                  <a:pt x="117" y="102"/>
                  <a:pt x="117" y="102"/>
                </a:cubicBezTo>
                <a:cubicBezTo>
                  <a:pt x="117" y="98"/>
                  <a:pt x="117" y="98"/>
                  <a:pt x="117" y="98"/>
                </a:cubicBezTo>
                <a:cubicBezTo>
                  <a:pt x="117" y="95"/>
                  <a:pt x="116" y="94"/>
                  <a:pt x="114" y="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Freeform 36"/>
          <p:cNvSpPr>
            <a:spLocks noEditPoints="1"/>
          </p:cNvSpPr>
          <p:nvPr/>
        </p:nvSpPr>
        <p:spPr bwMode="auto">
          <a:xfrm>
            <a:off x="1956794" y="4019780"/>
            <a:ext cx="600079" cy="308897"/>
          </a:xfrm>
          <a:custGeom>
            <a:avLst/>
            <a:gdLst>
              <a:gd name="T0" fmla="*/ 2147483646 w 251"/>
              <a:gd name="T1" fmla="*/ 2147483646 h 127"/>
              <a:gd name="T2" fmla="*/ 2147483646 w 251"/>
              <a:gd name="T3" fmla="*/ 2147483646 h 127"/>
              <a:gd name="T4" fmla="*/ 2147483646 w 251"/>
              <a:gd name="T5" fmla="*/ 2147483646 h 127"/>
              <a:gd name="T6" fmla="*/ 2147483646 w 251"/>
              <a:gd name="T7" fmla="*/ 2147483646 h 127"/>
              <a:gd name="T8" fmla="*/ 2147483646 w 251"/>
              <a:gd name="T9" fmla="*/ 2147483646 h 127"/>
              <a:gd name="T10" fmla="*/ 2147483646 w 251"/>
              <a:gd name="T11" fmla="*/ 2147483646 h 127"/>
              <a:gd name="T12" fmla="*/ 2147483646 w 251"/>
              <a:gd name="T13" fmla="*/ 2147483646 h 127"/>
              <a:gd name="T14" fmla="*/ 2147483646 w 251"/>
              <a:gd name="T15" fmla="*/ 2147483646 h 127"/>
              <a:gd name="T16" fmla="*/ 2147483646 w 251"/>
              <a:gd name="T17" fmla="*/ 2147483646 h 127"/>
              <a:gd name="T18" fmla="*/ 2147483646 w 251"/>
              <a:gd name="T19" fmla="*/ 2147483646 h 127"/>
              <a:gd name="T20" fmla="*/ 2147483646 w 251"/>
              <a:gd name="T21" fmla="*/ 2147483646 h 127"/>
              <a:gd name="T22" fmla="*/ 2147483646 w 251"/>
              <a:gd name="T23" fmla="*/ 2147483646 h 127"/>
              <a:gd name="T24" fmla="*/ 2147483646 w 251"/>
              <a:gd name="T25" fmla="*/ 2147483646 h 127"/>
              <a:gd name="T26" fmla="*/ 2147483646 w 251"/>
              <a:gd name="T27" fmla="*/ 2147483646 h 127"/>
              <a:gd name="T28" fmla="*/ 2147483646 w 251"/>
              <a:gd name="T29" fmla="*/ 2147483646 h 127"/>
              <a:gd name="T30" fmla="*/ 2147483646 w 251"/>
              <a:gd name="T31" fmla="*/ 2147483646 h 127"/>
              <a:gd name="T32" fmla="*/ 2147483646 w 251"/>
              <a:gd name="T33" fmla="*/ 2147483646 h 127"/>
              <a:gd name="T34" fmla="*/ 2147483646 w 251"/>
              <a:gd name="T35" fmla="*/ 2147483646 h 127"/>
              <a:gd name="T36" fmla="*/ 2147483646 w 251"/>
              <a:gd name="T37" fmla="*/ 2147483646 h 127"/>
              <a:gd name="T38" fmla="*/ 2147483646 w 251"/>
              <a:gd name="T39" fmla="*/ 2147483646 h 127"/>
              <a:gd name="T40" fmla="*/ 2147483646 w 251"/>
              <a:gd name="T41" fmla="*/ 2147483646 h 127"/>
              <a:gd name="T42" fmla="*/ 2147483646 w 251"/>
              <a:gd name="T43" fmla="*/ 2147483646 h 127"/>
              <a:gd name="T44" fmla="*/ 2147483646 w 251"/>
              <a:gd name="T45" fmla="*/ 2147483646 h 127"/>
              <a:gd name="T46" fmla="*/ 2147483646 w 251"/>
              <a:gd name="T47" fmla="*/ 2147483646 h 127"/>
              <a:gd name="T48" fmla="*/ 2147483646 w 251"/>
              <a:gd name="T49" fmla="*/ 2147483646 h 127"/>
              <a:gd name="T50" fmla="*/ 2147483646 w 251"/>
              <a:gd name="T51" fmla="*/ 2147483646 h 127"/>
              <a:gd name="T52" fmla="*/ 2147483646 w 251"/>
              <a:gd name="T53" fmla="*/ 2147483646 h 127"/>
              <a:gd name="T54" fmla="*/ 2147483646 w 251"/>
              <a:gd name="T55" fmla="*/ 2147483646 h 127"/>
              <a:gd name="T56" fmla="*/ 2147483646 w 251"/>
              <a:gd name="T57" fmla="*/ 2147483646 h 127"/>
              <a:gd name="T58" fmla="*/ 2147483646 w 251"/>
              <a:gd name="T59" fmla="*/ 2147483646 h 127"/>
              <a:gd name="T60" fmla="*/ 2147483646 w 251"/>
              <a:gd name="T61" fmla="*/ 2147483646 h 127"/>
              <a:gd name="T62" fmla="*/ 2147483646 w 251"/>
              <a:gd name="T63" fmla="*/ 2147483646 h 127"/>
              <a:gd name="T64" fmla="*/ 2147483646 w 251"/>
              <a:gd name="T65" fmla="*/ 2147483646 h 127"/>
              <a:gd name="T66" fmla="*/ 2147483646 w 251"/>
              <a:gd name="T67" fmla="*/ 2147483646 h 127"/>
              <a:gd name="T68" fmla="*/ 2147483646 w 251"/>
              <a:gd name="T69" fmla="*/ 2147483646 h 127"/>
              <a:gd name="T70" fmla="*/ 2147483646 w 251"/>
              <a:gd name="T71" fmla="*/ 2147483646 h 127"/>
              <a:gd name="T72" fmla="*/ 2147483646 w 251"/>
              <a:gd name="T73" fmla="*/ 2147483646 h 127"/>
              <a:gd name="T74" fmla="*/ 2147483646 w 251"/>
              <a:gd name="T75" fmla="*/ 2147483646 h 127"/>
              <a:gd name="T76" fmla="*/ 2147483646 w 251"/>
              <a:gd name="T77" fmla="*/ 2147483646 h 127"/>
              <a:gd name="T78" fmla="*/ 2147483646 w 251"/>
              <a:gd name="T79" fmla="*/ 2147483646 h 127"/>
              <a:gd name="T80" fmla="*/ 2147483646 w 251"/>
              <a:gd name="T81" fmla="*/ 2147483646 h 127"/>
              <a:gd name="T82" fmla="*/ 2147483646 w 251"/>
              <a:gd name="T83" fmla="*/ 2147483646 h 127"/>
              <a:gd name="T84" fmla="*/ 2147483646 w 251"/>
              <a:gd name="T85" fmla="*/ 2147483646 h 127"/>
              <a:gd name="T86" fmla="*/ 2147483646 w 251"/>
              <a:gd name="T87" fmla="*/ 2147483646 h 127"/>
              <a:gd name="T88" fmla="*/ 2147483646 w 251"/>
              <a:gd name="T89" fmla="*/ 2147483646 h 127"/>
              <a:gd name="T90" fmla="*/ 2147483646 w 251"/>
              <a:gd name="T91" fmla="*/ 2147483646 h 127"/>
              <a:gd name="T92" fmla="*/ 2147483646 w 251"/>
              <a:gd name="T93" fmla="*/ 2147483646 h 127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51" h="127">
                <a:moveTo>
                  <a:pt x="128" y="127"/>
                </a:moveTo>
                <a:cubicBezTo>
                  <a:pt x="114" y="126"/>
                  <a:pt x="102" y="126"/>
                  <a:pt x="90" y="123"/>
                </a:cubicBezTo>
                <a:cubicBezTo>
                  <a:pt x="86" y="122"/>
                  <a:pt x="82" y="121"/>
                  <a:pt x="79" y="119"/>
                </a:cubicBezTo>
                <a:cubicBezTo>
                  <a:pt x="72" y="116"/>
                  <a:pt x="69" y="111"/>
                  <a:pt x="69" y="108"/>
                </a:cubicBezTo>
                <a:cubicBezTo>
                  <a:pt x="68" y="104"/>
                  <a:pt x="70" y="99"/>
                  <a:pt x="73" y="95"/>
                </a:cubicBezTo>
                <a:cubicBezTo>
                  <a:pt x="79" y="90"/>
                  <a:pt x="86" y="85"/>
                  <a:pt x="96" y="81"/>
                </a:cubicBezTo>
                <a:cubicBezTo>
                  <a:pt x="99" y="79"/>
                  <a:pt x="101" y="78"/>
                  <a:pt x="104" y="77"/>
                </a:cubicBezTo>
                <a:cubicBezTo>
                  <a:pt x="107" y="76"/>
                  <a:pt x="107" y="76"/>
                  <a:pt x="107" y="76"/>
                </a:cubicBezTo>
                <a:cubicBezTo>
                  <a:pt x="109" y="75"/>
                  <a:pt x="110" y="74"/>
                  <a:pt x="111" y="72"/>
                </a:cubicBezTo>
                <a:cubicBezTo>
                  <a:pt x="111" y="71"/>
                  <a:pt x="110" y="69"/>
                  <a:pt x="109" y="68"/>
                </a:cubicBezTo>
                <a:cubicBezTo>
                  <a:pt x="99" y="57"/>
                  <a:pt x="94" y="45"/>
                  <a:pt x="95" y="29"/>
                </a:cubicBezTo>
                <a:cubicBezTo>
                  <a:pt x="95" y="14"/>
                  <a:pt x="104" y="5"/>
                  <a:pt x="119" y="1"/>
                </a:cubicBezTo>
                <a:cubicBezTo>
                  <a:pt x="122" y="0"/>
                  <a:pt x="125" y="0"/>
                  <a:pt x="128" y="0"/>
                </a:cubicBezTo>
                <a:cubicBezTo>
                  <a:pt x="131" y="0"/>
                  <a:pt x="135" y="0"/>
                  <a:pt x="138" y="1"/>
                </a:cubicBezTo>
                <a:cubicBezTo>
                  <a:pt x="153" y="5"/>
                  <a:pt x="162" y="14"/>
                  <a:pt x="162" y="29"/>
                </a:cubicBezTo>
                <a:cubicBezTo>
                  <a:pt x="163" y="45"/>
                  <a:pt x="158" y="58"/>
                  <a:pt x="148" y="68"/>
                </a:cubicBezTo>
                <a:cubicBezTo>
                  <a:pt x="146" y="69"/>
                  <a:pt x="146" y="71"/>
                  <a:pt x="146" y="72"/>
                </a:cubicBezTo>
                <a:cubicBezTo>
                  <a:pt x="147" y="74"/>
                  <a:pt x="148" y="75"/>
                  <a:pt x="150" y="76"/>
                </a:cubicBezTo>
                <a:cubicBezTo>
                  <a:pt x="152" y="77"/>
                  <a:pt x="152" y="77"/>
                  <a:pt x="152" y="77"/>
                </a:cubicBezTo>
                <a:cubicBezTo>
                  <a:pt x="155" y="78"/>
                  <a:pt x="158" y="79"/>
                  <a:pt x="161" y="81"/>
                </a:cubicBezTo>
                <a:cubicBezTo>
                  <a:pt x="171" y="85"/>
                  <a:pt x="178" y="90"/>
                  <a:pt x="183" y="95"/>
                </a:cubicBezTo>
                <a:cubicBezTo>
                  <a:pt x="187" y="99"/>
                  <a:pt x="188" y="104"/>
                  <a:pt x="187" y="108"/>
                </a:cubicBezTo>
                <a:cubicBezTo>
                  <a:pt x="186" y="113"/>
                  <a:pt x="183" y="117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5" y="121"/>
                  <a:pt x="171" y="122"/>
                  <a:pt x="167" y="123"/>
                </a:cubicBezTo>
                <a:cubicBezTo>
                  <a:pt x="155" y="126"/>
                  <a:pt x="143" y="126"/>
                  <a:pt x="128" y="127"/>
                </a:cubicBezTo>
                <a:close/>
                <a:moveTo>
                  <a:pt x="128" y="7"/>
                </a:moveTo>
                <a:cubicBezTo>
                  <a:pt x="126" y="7"/>
                  <a:pt x="123" y="7"/>
                  <a:pt x="121" y="8"/>
                </a:cubicBezTo>
                <a:cubicBezTo>
                  <a:pt x="108" y="11"/>
                  <a:pt x="102" y="18"/>
                  <a:pt x="102" y="30"/>
                </a:cubicBezTo>
                <a:cubicBezTo>
                  <a:pt x="101" y="43"/>
                  <a:pt x="105" y="54"/>
                  <a:pt x="114" y="63"/>
                </a:cubicBezTo>
                <a:cubicBezTo>
                  <a:pt x="117" y="66"/>
                  <a:pt x="118" y="70"/>
                  <a:pt x="117" y="74"/>
                </a:cubicBezTo>
                <a:cubicBezTo>
                  <a:pt x="117" y="78"/>
                  <a:pt x="113" y="81"/>
                  <a:pt x="109" y="83"/>
                </a:cubicBezTo>
                <a:cubicBezTo>
                  <a:pt x="107" y="84"/>
                  <a:pt x="107" y="84"/>
                  <a:pt x="107" y="84"/>
                </a:cubicBezTo>
                <a:cubicBezTo>
                  <a:pt x="104" y="85"/>
                  <a:pt x="101" y="86"/>
                  <a:pt x="99" y="87"/>
                </a:cubicBezTo>
                <a:cubicBezTo>
                  <a:pt x="90" y="91"/>
                  <a:pt x="83" y="95"/>
                  <a:pt x="78" y="100"/>
                </a:cubicBezTo>
                <a:cubicBezTo>
                  <a:pt x="76" y="102"/>
                  <a:pt x="75" y="105"/>
                  <a:pt x="76" y="107"/>
                </a:cubicBezTo>
                <a:cubicBezTo>
                  <a:pt x="76" y="109"/>
                  <a:pt x="78" y="111"/>
                  <a:pt x="82" y="113"/>
                </a:cubicBezTo>
                <a:cubicBezTo>
                  <a:pt x="85" y="114"/>
                  <a:pt x="88" y="116"/>
                  <a:pt x="91" y="116"/>
                </a:cubicBezTo>
                <a:cubicBezTo>
                  <a:pt x="103" y="119"/>
                  <a:pt x="114" y="119"/>
                  <a:pt x="128" y="120"/>
                </a:cubicBezTo>
                <a:cubicBezTo>
                  <a:pt x="142" y="119"/>
                  <a:pt x="154" y="119"/>
                  <a:pt x="165" y="116"/>
                </a:cubicBezTo>
                <a:cubicBezTo>
                  <a:pt x="169" y="116"/>
                  <a:pt x="172" y="114"/>
                  <a:pt x="175" y="113"/>
                </a:cubicBezTo>
                <a:cubicBezTo>
                  <a:pt x="178" y="112"/>
                  <a:pt x="180" y="110"/>
                  <a:pt x="180" y="107"/>
                </a:cubicBezTo>
                <a:cubicBezTo>
                  <a:pt x="181" y="104"/>
                  <a:pt x="180" y="102"/>
                  <a:pt x="179" y="100"/>
                </a:cubicBezTo>
                <a:cubicBezTo>
                  <a:pt x="174" y="95"/>
                  <a:pt x="167" y="91"/>
                  <a:pt x="158" y="87"/>
                </a:cubicBezTo>
                <a:cubicBezTo>
                  <a:pt x="156" y="86"/>
                  <a:pt x="153" y="85"/>
                  <a:pt x="150" y="84"/>
                </a:cubicBezTo>
                <a:cubicBezTo>
                  <a:pt x="148" y="83"/>
                  <a:pt x="148" y="83"/>
                  <a:pt x="148" y="83"/>
                </a:cubicBezTo>
                <a:cubicBezTo>
                  <a:pt x="143" y="81"/>
                  <a:pt x="140" y="78"/>
                  <a:pt x="139" y="74"/>
                </a:cubicBezTo>
                <a:cubicBezTo>
                  <a:pt x="139" y="70"/>
                  <a:pt x="140" y="66"/>
                  <a:pt x="143" y="63"/>
                </a:cubicBezTo>
                <a:cubicBezTo>
                  <a:pt x="152" y="54"/>
                  <a:pt x="156" y="43"/>
                  <a:pt x="155" y="30"/>
                </a:cubicBezTo>
                <a:cubicBezTo>
                  <a:pt x="155" y="18"/>
                  <a:pt x="149" y="11"/>
                  <a:pt x="136" y="8"/>
                </a:cubicBezTo>
                <a:cubicBezTo>
                  <a:pt x="133" y="7"/>
                  <a:pt x="131" y="7"/>
                  <a:pt x="128" y="7"/>
                </a:cubicBezTo>
                <a:close/>
                <a:moveTo>
                  <a:pt x="177" y="116"/>
                </a:moveTo>
                <a:cubicBezTo>
                  <a:pt x="177" y="116"/>
                  <a:pt x="177" y="116"/>
                  <a:pt x="177" y="116"/>
                </a:cubicBezTo>
                <a:close/>
                <a:moveTo>
                  <a:pt x="209" y="127"/>
                </a:moveTo>
                <a:cubicBezTo>
                  <a:pt x="206" y="127"/>
                  <a:pt x="206" y="127"/>
                  <a:pt x="206" y="127"/>
                </a:cubicBezTo>
                <a:cubicBezTo>
                  <a:pt x="200" y="127"/>
                  <a:pt x="197" y="126"/>
                  <a:pt x="190" y="126"/>
                </a:cubicBezTo>
                <a:cubicBezTo>
                  <a:pt x="188" y="125"/>
                  <a:pt x="187" y="124"/>
                  <a:pt x="187" y="122"/>
                </a:cubicBezTo>
                <a:cubicBezTo>
                  <a:pt x="187" y="120"/>
                  <a:pt x="189" y="119"/>
                  <a:pt x="191" y="119"/>
                </a:cubicBezTo>
                <a:cubicBezTo>
                  <a:pt x="198" y="120"/>
                  <a:pt x="200" y="120"/>
                  <a:pt x="207" y="120"/>
                </a:cubicBezTo>
                <a:cubicBezTo>
                  <a:pt x="209" y="120"/>
                  <a:pt x="209" y="120"/>
                  <a:pt x="209" y="120"/>
                </a:cubicBezTo>
                <a:cubicBezTo>
                  <a:pt x="218" y="120"/>
                  <a:pt x="226" y="119"/>
                  <a:pt x="234" y="117"/>
                </a:cubicBezTo>
                <a:cubicBezTo>
                  <a:pt x="237" y="117"/>
                  <a:pt x="239" y="116"/>
                  <a:pt x="241" y="115"/>
                </a:cubicBezTo>
                <a:cubicBezTo>
                  <a:pt x="243" y="114"/>
                  <a:pt x="244" y="113"/>
                  <a:pt x="244" y="112"/>
                </a:cubicBezTo>
                <a:cubicBezTo>
                  <a:pt x="244" y="110"/>
                  <a:pt x="243" y="109"/>
                  <a:pt x="243" y="108"/>
                </a:cubicBezTo>
                <a:cubicBezTo>
                  <a:pt x="239" y="105"/>
                  <a:pt x="235" y="102"/>
                  <a:pt x="229" y="99"/>
                </a:cubicBezTo>
                <a:cubicBezTo>
                  <a:pt x="227" y="98"/>
                  <a:pt x="225" y="97"/>
                  <a:pt x="223" y="97"/>
                </a:cubicBezTo>
                <a:cubicBezTo>
                  <a:pt x="222" y="96"/>
                  <a:pt x="222" y="96"/>
                  <a:pt x="222" y="96"/>
                </a:cubicBezTo>
                <a:cubicBezTo>
                  <a:pt x="218" y="95"/>
                  <a:pt x="216" y="92"/>
                  <a:pt x="215" y="89"/>
                </a:cubicBezTo>
                <a:cubicBezTo>
                  <a:pt x="215" y="86"/>
                  <a:pt x="216" y="83"/>
                  <a:pt x="218" y="80"/>
                </a:cubicBezTo>
                <a:cubicBezTo>
                  <a:pt x="224" y="75"/>
                  <a:pt x="227" y="67"/>
                  <a:pt x="226" y="58"/>
                </a:cubicBezTo>
                <a:cubicBezTo>
                  <a:pt x="226" y="51"/>
                  <a:pt x="222" y="46"/>
                  <a:pt x="214" y="44"/>
                </a:cubicBezTo>
                <a:cubicBezTo>
                  <a:pt x="212" y="44"/>
                  <a:pt x="210" y="43"/>
                  <a:pt x="209" y="43"/>
                </a:cubicBezTo>
                <a:cubicBezTo>
                  <a:pt x="207" y="43"/>
                  <a:pt x="205" y="44"/>
                  <a:pt x="204" y="44"/>
                </a:cubicBezTo>
                <a:cubicBezTo>
                  <a:pt x="195" y="46"/>
                  <a:pt x="191" y="51"/>
                  <a:pt x="191" y="58"/>
                </a:cubicBezTo>
                <a:cubicBezTo>
                  <a:pt x="191" y="67"/>
                  <a:pt x="193" y="75"/>
                  <a:pt x="199" y="80"/>
                </a:cubicBezTo>
                <a:cubicBezTo>
                  <a:pt x="202" y="83"/>
                  <a:pt x="203" y="86"/>
                  <a:pt x="202" y="89"/>
                </a:cubicBezTo>
                <a:cubicBezTo>
                  <a:pt x="202" y="92"/>
                  <a:pt x="200" y="94"/>
                  <a:pt x="197" y="95"/>
                </a:cubicBezTo>
                <a:cubicBezTo>
                  <a:pt x="196" y="96"/>
                  <a:pt x="196" y="96"/>
                  <a:pt x="196" y="96"/>
                </a:cubicBezTo>
                <a:cubicBezTo>
                  <a:pt x="194" y="96"/>
                  <a:pt x="192" y="95"/>
                  <a:pt x="192" y="94"/>
                </a:cubicBezTo>
                <a:cubicBezTo>
                  <a:pt x="191" y="92"/>
                  <a:pt x="192" y="90"/>
                  <a:pt x="194" y="89"/>
                </a:cubicBezTo>
                <a:cubicBezTo>
                  <a:pt x="194" y="89"/>
                  <a:pt x="194" y="89"/>
                  <a:pt x="194" y="89"/>
                </a:cubicBezTo>
                <a:cubicBezTo>
                  <a:pt x="195" y="89"/>
                  <a:pt x="196" y="88"/>
                  <a:pt x="196" y="88"/>
                </a:cubicBezTo>
                <a:cubicBezTo>
                  <a:pt x="196" y="87"/>
                  <a:pt x="195" y="86"/>
                  <a:pt x="194" y="85"/>
                </a:cubicBezTo>
                <a:cubicBezTo>
                  <a:pt x="187" y="78"/>
                  <a:pt x="184" y="69"/>
                  <a:pt x="184" y="58"/>
                </a:cubicBezTo>
                <a:cubicBezTo>
                  <a:pt x="184" y="50"/>
                  <a:pt x="188" y="41"/>
                  <a:pt x="202" y="37"/>
                </a:cubicBezTo>
                <a:cubicBezTo>
                  <a:pt x="204" y="37"/>
                  <a:pt x="206" y="36"/>
                  <a:pt x="209" y="36"/>
                </a:cubicBezTo>
                <a:cubicBezTo>
                  <a:pt x="211" y="36"/>
                  <a:pt x="213" y="37"/>
                  <a:pt x="215" y="37"/>
                </a:cubicBezTo>
                <a:cubicBezTo>
                  <a:pt x="230" y="41"/>
                  <a:pt x="233" y="50"/>
                  <a:pt x="233" y="58"/>
                </a:cubicBezTo>
                <a:cubicBezTo>
                  <a:pt x="234" y="69"/>
                  <a:pt x="230" y="78"/>
                  <a:pt x="223" y="85"/>
                </a:cubicBezTo>
                <a:cubicBezTo>
                  <a:pt x="222" y="86"/>
                  <a:pt x="222" y="87"/>
                  <a:pt x="222" y="88"/>
                </a:cubicBezTo>
                <a:cubicBezTo>
                  <a:pt x="222" y="88"/>
                  <a:pt x="223" y="89"/>
                  <a:pt x="224" y="90"/>
                </a:cubicBezTo>
                <a:cubicBezTo>
                  <a:pt x="226" y="90"/>
                  <a:pt x="226" y="90"/>
                  <a:pt x="226" y="90"/>
                </a:cubicBezTo>
                <a:cubicBezTo>
                  <a:pt x="228" y="91"/>
                  <a:pt x="230" y="92"/>
                  <a:pt x="232" y="93"/>
                </a:cubicBezTo>
                <a:cubicBezTo>
                  <a:pt x="239" y="96"/>
                  <a:pt x="244" y="99"/>
                  <a:pt x="248" y="103"/>
                </a:cubicBezTo>
                <a:cubicBezTo>
                  <a:pt x="250" y="106"/>
                  <a:pt x="251" y="109"/>
                  <a:pt x="251" y="113"/>
                </a:cubicBezTo>
                <a:cubicBezTo>
                  <a:pt x="250" y="117"/>
                  <a:pt x="247" y="120"/>
                  <a:pt x="244" y="121"/>
                </a:cubicBezTo>
                <a:cubicBezTo>
                  <a:pt x="241" y="123"/>
                  <a:pt x="239" y="123"/>
                  <a:pt x="236" y="124"/>
                </a:cubicBezTo>
                <a:cubicBezTo>
                  <a:pt x="227" y="126"/>
                  <a:pt x="219" y="126"/>
                  <a:pt x="209" y="127"/>
                </a:cubicBezTo>
                <a:close/>
                <a:moveTo>
                  <a:pt x="48" y="127"/>
                </a:moveTo>
                <a:cubicBezTo>
                  <a:pt x="36" y="126"/>
                  <a:pt x="27" y="126"/>
                  <a:pt x="18" y="124"/>
                </a:cubicBezTo>
                <a:cubicBezTo>
                  <a:pt x="15" y="123"/>
                  <a:pt x="12" y="122"/>
                  <a:pt x="9" y="121"/>
                </a:cubicBezTo>
                <a:cubicBezTo>
                  <a:pt x="5" y="119"/>
                  <a:pt x="2" y="115"/>
                  <a:pt x="1" y="112"/>
                </a:cubicBezTo>
                <a:cubicBezTo>
                  <a:pt x="0" y="108"/>
                  <a:pt x="2" y="104"/>
                  <a:pt x="5" y="101"/>
                </a:cubicBezTo>
                <a:cubicBezTo>
                  <a:pt x="9" y="97"/>
                  <a:pt x="14" y="93"/>
                  <a:pt x="22" y="90"/>
                </a:cubicBezTo>
                <a:cubicBezTo>
                  <a:pt x="24" y="89"/>
                  <a:pt x="27" y="88"/>
                  <a:pt x="29" y="87"/>
                </a:cubicBezTo>
                <a:cubicBezTo>
                  <a:pt x="31" y="86"/>
                  <a:pt x="31" y="86"/>
                  <a:pt x="31" y="86"/>
                </a:cubicBezTo>
                <a:cubicBezTo>
                  <a:pt x="32" y="86"/>
                  <a:pt x="33" y="85"/>
                  <a:pt x="33" y="84"/>
                </a:cubicBezTo>
                <a:cubicBezTo>
                  <a:pt x="33" y="83"/>
                  <a:pt x="33" y="82"/>
                  <a:pt x="32" y="81"/>
                </a:cubicBezTo>
                <a:cubicBezTo>
                  <a:pt x="24" y="73"/>
                  <a:pt x="20" y="63"/>
                  <a:pt x="21" y="51"/>
                </a:cubicBezTo>
                <a:cubicBezTo>
                  <a:pt x="21" y="43"/>
                  <a:pt x="25" y="32"/>
                  <a:pt x="40" y="28"/>
                </a:cubicBezTo>
                <a:cubicBezTo>
                  <a:pt x="43" y="28"/>
                  <a:pt x="45" y="27"/>
                  <a:pt x="48" y="27"/>
                </a:cubicBezTo>
                <a:cubicBezTo>
                  <a:pt x="50" y="27"/>
                  <a:pt x="53" y="28"/>
                  <a:pt x="55" y="28"/>
                </a:cubicBezTo>
                <a:cubicBezTo>
                  <a:pt x="71" y="32"/>
                  <a:pt x="74" y="43"/>
                  <a:pt x="75" y="51"/>
                </a:cubicBezTo>
                <a:cubicBezTo>
                  <a:pt x="75" y="63"/>
                  <a:pt x="71" y="73"/>
                  <a:pt x="63" y="81"/>
                </a:cubicBezTo>
                <a:cubicBezTo>
                  <a:pt x="63" y="82"/>
                  <a:pt x="62" y="83"/>
                  <a:pt x="62" y="84"/>
                </a:cubicBezTo>
                <a:cubicBezTo>
                  <a:pt x="62" y="85"/>
                  <a:pt x="63" y="86"/>
                  <a:pt x="65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68" y="88"/>
                  <a:pt x="69" y="90"/>
                  <a:pt x="68" y="91"/>
                </a:cubicBezTo>
                <a:cubicBezTo>
                  <a:pt x="68" y="93"/>
                  <a:pt x="66" y="94"/>
                  <a:pt x="64" y="93"/>
                </a:cubicBezTo>
                <a:cubicBezTo>
                  <a:pt x="62" y="93"/>
                  <a:pt x="62" y="93"/>
                  <a:pt x="62" y="93"/>
                </a:cubicBezTo>
                <a:cubicBezTo>
                  <a:pt x="59" y="91"/>
                  <a:pt x="56" y="89"/>
                  <a:pt x="55" y="85"/>
                </a:cubicBezTo>
                <a:cubicBezTo>
                  <a:pt x="55" y="82"/>
                  <a:pt x="56" y="79"/>
                  <a:pt x="58" y="76"/>
                </a:cubicBezTo>
                <a:cubicBezTo>
                  <a:pt x="65" y="70"/>
                  <a:pt x="68" y="61"/>
                  <a:pt x="68" y="51"/>
                </a:cubicBezTo>
                <a:cubicBezTo>
                  <a:pt x="67" y="43"/>
                  <a:pt x="63" y="37"/>
                  <a:pt x="53" y="35"/>
                </a:cubicBezTo>
                <a:cubicBezTo>
                  <a:pt x="51" y="35"/>
                  <a:pt x="50" y="34"/>
                  <a:pt x="48" y="34"/>
                </a:cubicBezTo>
                <a:cubicBezTo>
                  <a:pt x="46" y="34"/>
                  <a:pt x="44" y="35"/>
                  <a:pt x="42" y="35"/>
                </a:cubicBezTo>
                <a:cubicBezTo>
                  <a:pt x="33" y="37"/>
                  <a:pt x="28" y="43"/>
                  <a:pt x="28" y="51"/>
                </a:cubicBezTo>
                <a:cubicBezTo>
                  <a:pt x="27" y="61"/>
                  <a:pt x="30" y="69"/>
                  <a:pt x="37" y="76"/>
                </a:cubicBezTo>
                <a:cubicBezTo>
                  <a:pt x="40" y="79"/>
                  <a:pt x="41" y="82"/>
                  <a:pt x="40" y="85"/>
                </a:cubicBezTo>
                <a:cubicBezTo>
                  <a:pt x="39" y="89"/>
                  <a:pt x="37" y="91"/>
                  <a:pt x="33" y="93"/>
                </a:cubicBezTo>
                <a:cubicBezTo>
                  <a:pt x="31" y="93"/>
                  <a:pt x="31" y="93"/>
                  <a:pt x="31" y="93"/>
                </a:cubicBezTo>
                <a:cubicBezTo>
                  <a:pt x="29" y="94"/>
                  <a:pt x="27" y="95"/>
                  <a:pt x="25" y="96"/>
                </a:cubicBezTo>
                <a:cubicBezTo>
                  <a:pt x="18" y="99"/>
                  <a:pt x="13" y="102"/>
                  <a:pt x="10" y="106"/>
                </a:cubicBezTo>
                <a:cubicBezTo>
                  <a:pt x="8" y="108"/>
                  <a:pt x="8" y="109"/>
                  <a:pt x="8" y="110"/>
                </a:cubicBezTo>
                <a:cubicBezTo>
                  <a:pt x="8" y="112"/>
                  <a:pt x="10" y="114"/>
                  <a:pt x="12" y="115"/>
                </a:cubicBezTo>
                <a:cubicBezTo>
                  <a:pt x="14" y="116"/>
                  <a:pt x="17" y="117"/>
                  <a:pt x="19" y="117"/>
                </a:cubicBezTo>
                <a:cubicBezTo>
                  <a:pt x="28" y="119"/>
                  <a:pt x="37" y="120"/>
                  <a:pt x="48" y="120"/>
                </a:cubicBezTo>
                <a:cubicBezTo>
                  <a:pt x="54" y="120"/>
                  <a:pt x="60" y="119"/>
                  <a:pt x="65" y="119"/>
                </a:cubicBezTo>
                <a:cubicBezTo>
                  <a:pt x="66" y="119"/>
                  <a:pt x="68" y="120"/>
                  <a:pt x="68" y="122"/>
                </a:cubicBezTo>
                <a:cubicBezTo>
                  <a:pt x="68" y="124"/>
                  <a:pt x="67" y="126"/>
                  <a:pt x="65" y="126"/>
                </a:cubicBezTo>
                <a:cubicBezTo>
                  <a:pt x="60" y="126"/>
                  <a:pt x="54" y="127"/>
                  <a:pt x="48" y="12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" name="Freeform 23"/>
          <p:cNvSpPr>
            <a:spLocks noEditPoints="1"/>
          </p:cNvSpPr>
          <p:nvPr/>
        </p:nvSpPr>
        <p:spPr bwMode="auto">
          <a:xfrm>
            <a:off x="2034190" y="4564584"/>
            <a:ext cx="467479" cy="354835"/>
          </a:xfrm>
          <a:custGeom>
            <a:avLst/>
            <a:gdLst>
              <a:gd name="T0" fmla="*/ 2147483646 w 204"/>
              <a:gd name="T1" fmla="*/ 1029274675 h 204"/>
              <a:gd name="T2" fmla="*/ 2070378077 w 204"/>
              <a:gd name="T3" fmla="*/ 981949448 h 204"/>
              <a:gd name="T4" fmla="*/ 1963902335 w 204"/>
              <a:gd name="T5" fmla="*/ 757165798 h 204"/>
              <a:gd name="T6" fmla="*/ 2147483646 w 204"/>
              <a:gd name="T7" fmla="*/ 508721254 h 204"/>
              <a:gd name="T8" fmla="*/ 2141364198 w 204"/>
              <a:gd name="T9" fmla="*/ 437738573 h 204"/>
              <a:gd name="T10" fmla="*/ 1963902335 w 204"/>
              <a:gd name="T11" fmla="*/ 272105438 h 204"/>
              <a:gd name="T12" fmla="*/ 1904748381 w 204"/>
              <a:gd name="T13" fmla="*/ 260276710 h 204"/>
              <a:gd name="T14" fmla="*/ 1656303838 w 204"/>
              <a:gd name="T15" fmla="*/ 449567300 h 204"/>
              <a:gd name="T16" fmla="*/ 1431520188 w 204"/>
              <a:gd name="T17" fmla="*/ 343091558 h 204"/>
              <a:gd name="T18" fmla="*/ 1384194960 w 204"/>
              <a:gd name="T19" fmla="*/ 47321788 h 204"/>
              <a:gd name="T20" fmla="*/ 1325041006 w 204"/>
              <a:gd name="T21" fmla="*/ 0 h 204"/>
              <a:gd name="T22" fmla="*/ 1088428629 w 204"/>
              <a:gd name="T23" fmla="*/ 0 h 204"/>
              <a:gd name="T24" fmla="*/ 1029274675 w 204"/>
              <a:gd name="T25" fmla="*/ 47321788 h 204"/>
              <a:gd name="T26" fmla="*/ 981949448 w 204"/>
              <a:gd name="T27" fmla="*/ 343091558 h 204"/>
              <a:gd name="T28" fmla="*/ 757165798 w 204"/>
              <a:gd name="T29" fmla="*/ 449567300 h 204"/>
              <a:gd name="T30" fmla="*/ 508721254 w 204"/>
              <a:gd name="T31" fmla="*/ 260276710 h 204"/>
              <a:gd name="T32" fmla="*/ 449567300 w 204"/>
              <a:gd name="T33" fmla="*/ 272105438 h 204"/>
              <a:gd name="T34" fmla="*/ 272105438 w 204"/>
              <a:gd name="T35" fmla="*/ 437738573 h 204"/>
              <a:gd name="T36" fmla="*/ 260276710 w 204"/>
              <a:gd name="T37" fmla="*/ 508721254 h 204"/>
              <a:gd name="T38" fmla="*/ 449567300 w 204"/>
              <a:gd name="T39" fmla="*/ 757165798 h 204"/>
              <a:gd name="T40" fmla="*/ 343091558 w 204"/>
              <a:gd name="T41" fmla="*/ 981949448 h 204"/>
              <a:gd name="T42" fmla="*/ 47321788 w 204"/>
              <a:gd name="T43" fmla="*/ 1029274675 h 204"/>
              <a:gd name="T44" fmla="*/ 0 w 204"/>
              <a:gd name="T45" fmla="*/ 1088428629 h 204"/>
              <a:gd name="T46" fmla="*/ 0 w 204"/>
              <a:gd name="T47" fmla="*/ 1325041006 h 204"/>
              <a:gd name="T48" fmla="*/ 47321788 w 204"/>
              <a:gd name="T49" fmla="*/ 1384194960 h 204"/>
              <a:gd name="T50" fmla="*/ 343091558 w 204"/>
              <a:gd name="T51" fmla="*/ 1431520188 h 204"/>
              <a:gd name="T52" fmla="*/ 449567300 w 204"/>
              <a:gd name="T53" fmla="*/ 1656303838 h 204"/>
              <a:gd name="T54" fmla="*/ 260276710 w 204"/>
              <a:gd name="T55" fmla="*/ 1904748381 h 204"/>
              <a:gd name="T56" fmla="*/ 272105438 w 204"/>
              <a:gd name="T57" fmla="*/ 1963902335 h 204"/>
              <a:gd name="T58" fmla="*/ 449567300 w 204"/>
              <a:gd name="T59" fmla="*/ 2141364198 h 204"/>
              <a:gd name="T60" fmla="*/ 508721254 w 204"/>
              <a:gd name="T61" fmla="*/ 2147483646 h 204"/>
              <a:gd name="T62" fmla="*/ 757165798 w 204"/>
              <a:gd name="T63" fmla="*/ 1963902335 h 204"/>
              <a:gd name="T64" fmla="*/ 981949448 w 204"/>
              <a:gd name="T65" fmla="*/ 2070378077 h 204"/>
              <a:gd name="T66" fmla="*/ 1029274675 w 204"/>
              <a:gd name="T67" fmla="*/ 2147483646 h 204"/>
              <a:gd name="T68" fmla="*/ 1088428629 w 204"/>
              <a:gd name="T69" fmla="*/ 2147483646 h 204"/>
              <a:gd name="T70" fmla="*/ 1325041006 w 204"/>
              <a:gd name="T71" fmla="*/ 2147483646 h 204"/>
              <a:gd name="T72" fmla="*/ 1384194960 w 204"/>
              <a:gd name="T73" fmla="*/ 2147483646 h 204"/>
              <a:gd name="T74" fmla="*/ 1431520188 w 204"/>
              <a:gd name="T75" fmla="*/ 2070378077 h 204"/>
              <a:gd name="T76" fmla="*/ 1656303838 w 204"/>
              <a:gd name="T77" fmla="*/ 1963902335 h 204"/>
              <a:gd name="T78" fmla="*/ 1904748381 w 204"/>
              <a:gd name="T79" fmla="*/ 2147483646 h 204"/>
              <a:gd name="T80" fmla="*/ 1975731063 w 204"/>
              <a:gd name="T81" fmla="*/ 2141364198 h 204"/>
              <a:gd name="T82" fmla="*/ 2141364198 w 204"/>
              <a:gd name="T83" fmla="*/ 1963902335 h 204"/>
              <a:gd name="T84" fmla="*/ 2147483646 w 204"/>
              <a:gd name="T85" fmla="*/ 1904748381 h 204"/>
              <a:gd name="T86" fmla="*/ 1963902335 w 204"/>
              <a:gd name="T87" fmla="*/ 1656303838 h 204"/>
              <a:gd name="T88" fmla="*/ 2070378077 w 204"/>
              <a:gd name="T89" fmla="*/ 1431520188 h 204"/>
              <a:gd name="T90" fmla="*/ 2147483646 w 204"/>
              <a:gd name="T91" fmla="*/ 1384194960 h 204"/>
              <a:gd name="T92" fmla="*/ 2147483646 w 204"/>
              <a:gd name="T93" fmla="*/ 1325041006 h 204"/>
              <a:gd name="T94" fmla="*/ 2147483646 w 204"/>
              <a:gd name="T95" fmla="*/ 1088428629 h 204"/>
              <a:gd name="T96" fmla="*/ 2147483646 w 204"/>
              <a:gd name="T97" fmla="*/ 1029274675 h 204"/>
              <a:gd name="T98" fmla="*/ 1206736538 w 204"/>
              <a:gd name="T99" fmla="*/ 1644471671 h 204"/>
              <a:gd name="T100" fmla="*/ 768997965 w 204"/>
              <a:gd name="T101" fmla="*/ 1206736538 h 204"/>
              <a:gd name="T102" fmla="*/ 1206736538 w 204"/>
              <a:gd name="T103" fmla="*/ 768997965 h 204"/>
              <a:gd name="T104" fmla="*/ 1644471671 w 204"/>
              <a:gd name="T105" fmla="*/ 1206736538 h 204"/>
              <a:gd name="T106" fmla="*/ 1206736538 w 204"/>
              <a:gd name="T107" fmla="*/ 1644471671 h 20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4" h="204">
                <a:moveTo>
                  <a:pt x="200" y="87"/>
                </a:moveTo>
                <a:cubicBezTo>
                  <a:pt x="175" y="83"/>
                  <a:pt x="175" y="83"/>
                  <a:pt x="175" y="83"/>
                </a:cubicBezTo>
                <a:cubicBezTo>
                  <a:pt x="173" y="76"/>
                  <a:pt x="170" y="70"/>
                  <a:pt x="166" y="64"/>
                </a:cubicBezTo>
                <a:cubicBezTo>
                  <a:pt x="182" y="43"/>
                  <a:pt x="182" y="43"/>
                  <a:pt x="182" y="43"/>
                </a:cubicBezTo>
                <a:cubicBezTo>
                  <a:pt x="183" y="41"/>
                  <a:pt x="183" y="39"/>
                  <a:pt x="181" y="37"/>
                </a:cubicBezTo>
                <a:cubicBezTo>
                  <a:pt x="166" y="23"/>
                  <a:pt x="166" y="23"/>
                  <a:pt x="166" y="23"/>
                </a:cubicBezTo>
                <a:cubicBezTo>
                  <a:pt x="165" y="21"/>
                  <a:pt x="163" y="21"/>
                  <a:pt x="161" y="22"/>
                </a:cubicBezTo>
                <a:cubicBezTo>
                  <a:pt x="140" y="38"/>
                  <a:pt x="140" y="38"/>
                  <a:pt x="140" y="38"/>
                </a:cubicBezTo>
                <a:cubicBezTo>
                  <a:pt x="134" y="34"/>
                  <a:pt x="128" y="31"/>
                  <a:pt x="121" y="29"/>
                </a:cubicBezTo>
                <a:cubicBezTo>
                  <a:pt x="117" y="4"/>
                  <a:pt x="117" y="4"/>
                  <a:pt x="117" y="4"/>
                </a:cubicBezTo>
                <a:cubicBezTo>
                  <a:pt x="116" y="2"/>
                  <a:pt x="114" y="0"/>
                  <a:pt x="112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90" y="0"/>
                  <a:pt x="88" y="2"/>
                  <a:pt x="87" y="4"/>
                </a:cubicBezTo>
                <a:cubicBezTo>
                  <a:pt x="83" y="29"/>
                  <a:pt x="83" y="29"/>
                  <a:pt x="83" y="29"/>
                </a:cubicBezTo>
                <a:cubicBezTo>
                  <a:pt x="76" y="31"/>
                  <a:pt x="70" y="34"/>
                  <a:pt x="64" y="38"/>
                </a:cubicBezTo>
                <a:cubicBezTo>
                  <a:pt x="43" y="22"/>
                  <a:pt x="43" y="22"/>
                  <a:pt x="43" y="22"/>
                </a:cubicBezTo>
                <a:cubicBezTo>
                  <a:pt x="42" y="21"/>
                  <a:pt x="39" y="21"/>
                  <a:pt x="38" y="23"/>
                </a:cubicBezTo>
                <a:cubicBezTo>
                  <a:pt x="23" y="37"/>
                  <a:pt x="23" y="37"/>
                  <a:pt x="23" y="37"/>
                </a:cubicBezTo>
                <a:cubicBezTo>
                  <a:pt x="21" y="39"/>
                  <a:pt x="21" y="41"/>
                  <a:pt x="22" y="43"/>
                </a:cubicBezTo>
                <a:cubicBezTo>
                  <a:pt x="38" y="64"/>
                  <a:pt x="38" y="64"/>
                  <a:pt x="38" y="64"/>
                </a:cubicBezTo>
                <a:cubicBezTo>
                  <a:pt x="34" y="70"/>
                  <a:pt x="31" y="76"/>
                  <a:pt x="29" y="83"/>
                </a:cubicBezTo>
                <a:cubicBezTo>
                  <a:pt x="4" y="87"/>
                  <a:pt x="4" y="87"/>
                  <a:pt x="4" y="87"/>
                </a:cubicBezTo>
                <a:cubicBezTo>
                  <a:pt x="2" y="88"/>
                  <a:pt x="0" y="90"/>
                  <a:pt x="0" y="9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14"/>
                  <a:pt x="2" y="116"/>
                  <a:pt x="4" y="117"/>
                </a:cubicBezTo>
                <a:cubicBezTo>
                  <a:pt x="29" y="121"/>
                  <a:pt x="29" y="121"/>
                  <a:pt x="29" y="121"/>
                </a:cubicBezTo>
                <a:cubicBezTo>
                  <a:pt x="31" y="128"/>
                  <a:pt x="34" y="134"/>
                  <a:pt x="38" y="140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1" y="162"/>
                  <a:pt x="21" y="165"/>
                  <a:pt x="23" y="166"/>
                </a:cubicBezTo>
                <a:cubicBezTo>
                  <a:pt x="38" y="181"/>
                  <a:pt x="38" y="181"/>
                  <a:pt x="38" y="181"/>
                </a:cubicBezTo>
                <a:cubicBezTo>
                  <a:pt x="39" y="183"/>
                  <a:pt x="42" y="183"/>
                  <a:pt x="43" y="182"/>
                </a:cubicBezTo>
                <a:cubicBezTo>
                  <a:pt x="64" y="166"/>
                  <a:pt x="64" y="166"/>
                  <a:pt x="64" y="166"/>
                </a:cubicBezTo>
                <a:cubicBezTo>
                  <a:pt x="70" y="170"/>
                  <a:pt x="76" y="173"/>
                  <a:pt x="83" y="175"/>
                </a:cubicBezTo>
                <a:cubicBezTo>
                  <a:pt x="87" y="200"/>
                  <a:pt x="87" y="200"/>
                  <a:pt x="87" y="200"/>
                </a:cubicBezTo>
                <a:cubicBezTo>
                  <a:pt x="88" y="202"/>
                  <a:pt x="90" y="204"/>
                  <a:pt x="92" y="204"/>
                </a:cubicBezTo>
                <a:cubicBezTo>
                  <a:pt x="112" y="204"/>
                  <a:pt x="112" y="204"/>
                  <a:pt x="112" y="204"/>
                </a:cubicBezTo>
                <a:cubicBezTo>
                  <a:pt x="114" y="204"/>
                  <a:pt x="116" y="202"/>
                  <a:pt x="117" y="200"/>
                </a:cubicBezTo>
                <a:cubicBezTo>
                  <a:pt x="121" y="175"/>
                  <a:pt x="121" y="175"/>
                  <a:pt x="121" y="175"/>
                </a:cubicBezTo>
                <a:cubicBezTo>
                  <a:pt x="128" y="173"/>
                  <a:pt x="134" y="170"/>
                  <a:pt x="140" y="166"/>
                </a:cubicBezTo>
                <a:cubicBezTo>
                  <a:pt x="161" y="182"/>
                  <a:pt x="161" y="182"/>
                  <a:pt x="161" y="182"/>
                </a:cubicBezTo>
                <a:cubicBezTo>
                  <a:pt x="163" y="183"/>
                  <a:pt x="165" y="183"/>
                  <a:pt x="167" y="181"/>
                </a:cubicBezTo>
                <a:cubicBezTo>
                  <a:pt x="181" y="166"/>
                  <a:pt x="181" y="166"/>
                  <a:pt x="181" y="166"/>
                </a:cubicBezTo>
                <a:cubicBezTo>
                  <a:pt x="183" y="165"/>
                  <a:pt x="183" y="162"/>
                  <a:pt x="182" y="161"/>
                </a:cubicBezTo>
                <a:cubicBezTo>
                  <a:pt x="166" y="140"/>
                  <a:pt x="166" y="140"/>
                  <a:pt x="166" y="140"/>
                </a:cubicBezTo>
                <a:cubicBezTo>
                  <a:pt x="170" y="134"/>
                  <a:pt x="173" y="128"/>
                  <a:pt x="175" y="121"/>
                </a:cubicBezTo>
                <a:cubicBezTo>
                  <a:pt x="200" y="117"/>
                  <a:pt x="200" y="117"/>
                  <a:pt x="200" y="117"/>
                </a:cubicBezTo>
                <a:cubicBezTo>
                  <a:pt x="202" y="116"/>
                  <a:pt x="204" y="114"/>
                  <a:pt x="204" y="112"/>
                </a:cubicBezTo>
                <a:cubicBezTo>
                  <a:pt x="204" y="92"/>
                  <a:pt x="204" y="92"/>
                  <a:pt x="204" y="92"/>
                </a:cubicBezTo>
                <a:cubicBezTo>
                  <a:pt x="204" y="90"/>
                  <a:pt x="202" y="88"/>
                  <a:pt x="200" y="87"/>
                </a:cubicBezTo>
                <a:close/>
                <a:moveTo>
                  <a:pt x="102" y="139"/>
                </a:moveTo>
                <a:cubicBezTo>
                  <a:pt x="81" y="139"/>
                  <a:pt x="65" y="123"/>
                  <a:pt x="65" y="102"/>
                </a:cubicBezTo>
                <a:cubicBezTo>
                  <a:pt x="65" y="81"/>
                  <a:pt x="81" y="65"/>
                  <a:pt x="102" y="65"/>
                </a:cubicBezTo>
                <a:cubicBezTo>
                  <a:pt x="123" y="65"/>
                  <a:pt x="139" y="81"/>
                  <a:pt x="139" y="102"/>
                </a:cubicBezTo>
                <a:cubicBezTo>
                  <a:pt x="139" y="123"/>
                  <a:pt x="123" y="139"/>
                  <a:pt x="102" y="1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93"/>
          <p:cNvSpPr txBox="1">
            <a:spLocks noChangeArrowheads="1"/>
          </p:cNvSpPr>
          <p:nvPr/>
        </p:nvSpPr>
        <p:spPr bwMode="auto">
          <a:xfrm>
            <a:off x="5336256" y="4385775"/>
            <a:ext cx="4024160" cy="28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en-US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of BSP/ISP 2019-2023</a:t>
            </a:r>
            <a:endParaRPr lang="en-US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22"/>
          <p:cNvSpPr>
            <a:spLocks noChangeArrowheads="1"/>
          </p:cNvSpPr>
          <p:nvPr/>
        </p:nvSpPr>
        <p:spPr bwMode="auto">
          <a:xfrm>
            <a:off x="5028023" y="4408053"/>
            <a:ext cx="30823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Open Sans Semibold" panose="020B0706030804020204" pitchFamily="34" charset="0"/>
              </a:rPr>
              <a:t>7</a:t>
            </a:r>
            <a:endParaRPr lang="en-US" altLang="en-US" sz="1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8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7349065" y="4786312"/>
            <a:ext cx="1600200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en-MY" altLang="en-US" sz="675" dirty="0" smtClean="0">
                <a:latin typeface="Cambria" panose="02040503050406030204" pitchFamily="18" charset="0"/>
              </a:rPr>
              <a:t>11</a:t>
            </a:r>
            <a:endParaRPr lang="en-MY" altLang="en-US" sz="675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68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nfarahin.ali\Downloads\logo naps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5899" y="190577"/>
            <a:ext cx="890672" cy="696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s://rentacarthessalonikiairport.com/wp-content/uploads/2018/02/thank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913" y="1705969"/>
            <a:ext cx="5636525" cy="2934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3125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00538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774347" y="1431429"/>
            <a:ext cx="159530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err="1" smtClea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Slido</a:t>
            </a:r>
            <a:endParaRPr lang="en-US" sz="5400" b="1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44122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50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57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945"/>
          <a:stretch/>
        </p:blipFill>
        <p:spPr>
          <a:xfrm>
            <a:off x="0" y="250032"/>
            <a:ext cx="9144000" cy="4014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13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366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00538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774347" y="1431429"/>
            <a:ext cx="159530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err="1" smtClean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Slido</a:t>
            </a:r>
            <a:endParaRPr lang="en-US" sz="5400" b="1" dirty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542749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</p:spPr>
      </p:pic>
      <p:pic>
        <p:nvPicPr>
          <p:cNvPr id="5" name="Uplifting  Inspiring Background Music For Videos and Presentations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8506583" y="4331758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40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038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5782" y="2896881"/>
            <a:ext cx="8798218" cy="1068081"/>
          </a:xfrm>
          <a:solidFill>
            <a:schemeClr val="tx2">
              <a:lumMod val="75000"/>
            </a:schemeClr>
          </a:solidFill>
        </p:spPr>
        <p:txBody>
          <a:bodyPr>
            <a:normAutofit fontScale="90000"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JOURNEY OF TRANSFORMATION IN </a:t>
            </a:r>
            <a:r>
              <a:rPr lang="en-US" sz="27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7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7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OUNTING </a:t>
            </a:r>
            <a:r>
              <a:rPr lang="en-US" sz="27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 - </a:t>
            </a:r>
            <a:r>
              <a:rPr lang="en-US" sz="27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ENCES FROM </a:t>
            </a:r>
            <a:r>
              <a:rPr lang="en-US" sz="2700" b="1" dirty="0" err="1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FMAS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almiah </a:t>
            </a:r>
            <a:r>
              <a:rPr lang="en-US" sz="29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2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mli</a:t>
            </a:r>
            <a:r>
              <a:rPr lang="en-US" sz="31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31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3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C:\Users\nfarahin.ali\Downloads\logo napsa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386" y="874958"/>
            <a:ext cx="1744704" cy="134895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/>
        </p:spPr>
      </p:pic>
      <p:pic>
        <p:nvPicPr>
          <p:cNvPr id="5" name="Picture 8" descr="C:\Users\nfarahin.ali\Downloads\logo PSA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5" y="4607831"/>
            <a:ext cx="648072" cy="402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7347857" y="4354286"/>
            <a:ext cx="179614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</a:rPr>
              <a:t>Session: 2</a:t>
            </a:r>
          </a:p>
          <a:p>
            <a:r>
              <a:rPr lang="en-US" sz="1400" b="1" dirty="0" smtClean="0">
                <a:solidFill>
                  <a:schemeClr val="bg1"/>
                </a:solidFill>
              </a:rPr>
              <a:t>            18 Sept 2019</a:t>
            </a:r>
            <a:endParaRPr lang="en-MY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20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87F20D1-4E67-45DA-AB76-E62825D0A16A}"/>
              </a:ext>
            </a:extLst>
          </p:cNvPr>
          <p:cNvSpPr/>
          <p:nvPr/>
        </p:nvSpPr>
        <p:spPr>
          <a:xfrm>
            <a:off x="4668318" y="3396694"/>
            <a:ext cx="1244592" cy="59238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pic>
        <p:nvPicPr>
          <p:cNvPr id="6" name="Picture 5" descr="C:\Users\nfarahin.ali\Downloads\logo napsac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045" y="631371"/>
            <a:ext cx="835006" cy="653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1472665" y="725082"/>
            <a:ext cx="2767980" cy="39870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dirty="0">
                <a:solidFill>
                  <a:sysClr val="windowText" lastClr="000000"/>
                </a:solidFill>
              </a:rPr>
              <a:t>Portal </a:t>
            </a:r>
            <a:r>
              <a:rPr lang="en-MY" dirty="0" err="1">
                <a:solidFill>
                  <a:sysClr val="windowText" lastClr="000000"/>
                </a:solidFill>
              </a:rPr>
              <a:t>iGFMAS</a:t>
            </a:r>
            <a:endParaRPr lang="en-MY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701572" y="3430035"/>
            <a:ext cx="1121782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b="1" spc="-150" dirty="0">
                <a:ln w="0"/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Year</a:t>
            </a:r>
            <a:endParaRPr lang="en-US" sz="2800" b="1" cap="none" spc="-150" dirty="0">
              <a:ln w="0"/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D1D4BD9-25AE-4D29-8522-1A0BCB76C4FB}"/>
              </a:ext>
            </a:extLst>
          </p:cNvPr>
          <p:cNvSpPr/>
          <p:nvPr/>
        </p:nvSpPr>
        <p:spPr>
          <a:xfrm>
            <a:off x="5937568" y="3396694"/>
            <a:ext cx="1428597" cy="59238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A0A3EA45-F9FB-4984-83B4-7954C74D360B}"/>
              </a:ext>
            </a:extLst>
          </p:cNvPr>
          <p:cNvSpPr/>
          <p:nvPr/>
        </p:nvSpPr>
        <p:spPr>
          <a:xfrm>
            <a:off x="7392043" y="3396694"/>
            <a:ext cx="1348446" cy="59238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976" y="1411186"/>
            <a:ext cx="1321226" cy="131883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789464" y="1689575"/>
            <a:ext cx="889987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b="1" dirty="0">
                <a:ln w="0"/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CE</a:t>
            </a:r>
            <a:endParaRPr lang="en-US" b="1" cap="none" dirty="0">
              <a:ln w="0"/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41234" y="1925509"/>
            <a:ext cx="1986441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b="1" dirty="0">
                <a:ln w="0"/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1.2018</a:t>
            </a:r>
            <a:endParaRPr lang="en-US" sz="2800" b="1" cap="none" dirty="0">
              <a:ln w="0"/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923186" y="3434798"/>
            <a:ext cx="142859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b="1" spc="-150" dirty="0">
                <a:ln w="0"/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Month</a:t>
            </a:r>
            <a:endParaRPr lang="en-US" sz="2800" b="1" cap="none" spc="-150" dirty="0">
              <a:ln w="0"/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339241" y="3434795"/>
            <a:ext cx="1410964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b="1" spc="-150" dirty="0">
                <a:ln w="0"/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Days</a:t>
            </a:r>
            <a:endParaRPr lang="en-US" sz="2800" b="1" cap="none" spc="-150" dirty="0">
              <a:ln w="0"/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197075" y="2873474"/>
            <a:ext cx="2795573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dirty="0">
                <a:ln w="0"/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 </a:t>
            </a:r>
            <a:r>
              <a:rPr lang="en-US" sz="2800" b="1" dirty="0">
                <a:ln w="0"/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-9-2019</a:t>
            </a:r>
            <a:endParaRPr lang="en-US" sz="2800" b="1" cap="none" dirty="0">
              <a:ln w="0"/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/>
          <p:nvPr/>
        </p:nvPicPr>
        <p:blipFill rotWithShape="1">
          <a:blip r:embed="rId4"/>
          <a:srcRect l="27554" t="2043" r="11702" b="1235"/>
          <a:stretch/>
        </p:blipFill>
        <p:spPr bwMode="auto">
          <a:xfrm>
            <a:off x="1494486" y="757061"/>
            <a:ext cx="2742266" cy="395510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7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7349065" y="4786312"/>
            <a:ext cx="1600200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en-MY" altLang="en-US" sz="675" dirty="0" smtClean="0">
                <a:latin typeface="Cambria" panose="02040503050406030204" pitchFamily="18" charset="0"/>
              </a:rPr>
              <a:t>2</a:t>
            </a:r>
            <a:endParaRPr lang="en-MY" altLang="en-US" sz="675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031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7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2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94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3" grpId="0"/>
      <p:bldP spid="9" grpId="0"/>
      <p:bldP spid="11" grpId="0"/>
      <p:bldP spid="12" grpId="0"/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4" name="Title 1"/>
          <p:cNvSpPr>
            <a:spLocks noGrp="1"/>
          </p:cNvSpPr>
          <p:nvPr>
            <p:ph type="title"/>
          </p:nvPr>
        </p:nvSpPr>
        <p:spPr bwMode="auto">
          <a:xfrm>
            <a:off x="4286042" y="432752"/>
            <a:ext cx="5561824" cy="52401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3305" tIns="31652" rIns="63305" bIns="3165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MY" altLang="en-US" sz="32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</a:t>
            </a:r>
            <a:r>
              <a:rPr lang="en-MY" altLang="en-US" sz="3200" b="1" dirty="0" err="1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FMAS</a:t>
            </a:r>
            <a:r>
              <a:rPr lang="en-MY" altLang="en-US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br>
              <a:rPr lang="en-MY" altLang="en-US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MY" altLang="en-US" sz="3200" b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45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7355899" y="4853957"/>
            <a:ext cx="1600200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675" dirty="0" smtClean="0">
                <a:latin typeface="Cambria" panose="02040503050406030204" pitchFamily="18" charset="0"/>
              </a:rPr>
              <a:t>3</a:t>
            </a:r>
            <a:endParaRPr lang="en-MY" altLang="en-US" sz="675" dirty="0">
              <a:latin typeface="Cambria" panose="02040503050406030204" pitchFamily="18" charset="0"/>
            </a:endParaRPr>
          </a:p>
        </p:txBody>
      </p:sp>
      <p:pic>
        <p:nvPicPr>
          <p:cNvPr id="49" name="Picture 48" descr="C:\Users\nfarahin.ali\Downloads\logo napsac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197" y="197229"/>
            <a:ext cx="835006" cy="653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9"/>
          <p:cNvSpPr>
            <a:spLocks noChangeArrowheads="1"/>
          </p:cNvSpPr>
          <p:nvPr/>
        </p:nvSpPr>
        <p:spPr bwMode="auto">
          <a:xfrm>
            <a:off x="5906855" y="2862061"/>
            <a:ext cx="95539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graded</a:t>
            </a:r>
            <a:endParaRPr lang="en-US" alt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10"/>
          <p:cNvSpPr>
            <a:spLocks noChangeArrowheads="1"/>
          </p:cNvSpPr>
          <p:nvPr/>
        </p:nvSpPr>
        <p:spPr bwMode="auto">
          <a:xfrm>
            <a:off x="2085444" y="3190367"/>
            <a:ext cx="99225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</a:t>
            </a:r>
            <a:endParaRPr lang="en-US" alt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11"/>
          <p:cNvSpPr>
            <a:spLocks noChangeArrowheads="1"/>
          </p:cNvSpPr>
          <p:nvPr/>
        </p:nvSpPr>
        <p:spPr bwMode="auto">
          <a:xfrm>
            <a:off x="5565565" y="3689987"/>
            <a:ext cx="118462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monised</a:t>
            </a:r>
            <a:endParaRPr lang="en-US" alt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12"/>
          <p:cNvSpPr>
            <a:spLocks noChangeArrowheads="1"/>
          </p:cNvSpPr>
          <p:nvPr/>
        </p:nvSpPr>
        <p:spPr bwMode="auto">
          <a:xfrm>
            <a:off x="6081355" y="1998636"/>
            <a:ext cx="123271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ised</a:t>
            </a:r>
            <a:r>
              <a:rPr lang="en-US" altLang="en-US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en-US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15"/>
          <p:cNvSpPr>
            <a:spLocks noChangeArrowheads="1"/>
          </p:cNvSpPr>
          <p:nvPr/>
        </p:nvSpPr>
        <p:spPr bwMode="auto">
          <a:xfrm>
            <a:off x="6434047" y="2548350"/>
            <a:ext cx="6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17"/>
          <p:cNvSpPr>
            <a:spLocks noChangeArrowheads="1"/>
          </p:cNvSpPr>
          <p:nvPr/>
        </p:nvSpPr>
        <p:spPr bwMode="auto">
          <a:xfrm>
            <a:off x="2207439" y="3829808"/>
            <a:ext cx="6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18"/>
          <p:cNvSpPr>
            <a:spLocks noChangeArrowheads="1"/>
          </p:cNvSpPr>
          <p:nvPr/>
        </p:nvSpPr>
        <p:spPr bwMode="auto">
          <a:xfrm>
            <a:off x="2207439" y="2548350"/>
            <a:ext cx="6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3355392" y="1463750"/>
            <a:ext cx="2438121" cy="3076625"/>
            <a:chOff x="4398963" y="822325"/>
            <a:chExt cx="3402012" cy="5210175"/>
          </a:xfrm>
        </p:grpSpPr>
        <p:sp>
          <p:nvSpPr>
            <p:cNvPr id="86" name="Freeform 20"/>
            <p:cNvSpPr>
              <a:spLocks/>
            </p:cNvSpPr>
            <p:nvPr/>
          </p:nvSpPr>
          <p:spPr bwMode="auto">
            <a:xfrm>
              <a:off x="5465763" y="5151438"/>
              <a:ext cx="1277937" cy="379412"/>
            </a:xfrm>
            <a:custGeom>
              <a:avLst/>
              <a:gdLst>
                <a:gd name="T0" fmla="*/ 0 w 273"/>
                <a:gd name="T1" fmla="*/ 2147483646 h 81"/>
                <a:gd name="T2" fmla="*/ 2147483646 w 273"/>
                <a:gd name="T3" fmla="*/ 2147483646 h 81"/>
                <a:gd name="T4" fmla="*/ 2147483646 w 273"/>
                <a:gd name="T5" fmla="*/ 2147483646 h 81"/>
                <a:gd name="T6" fmla="*/ 2147483646 w 273"/>
                <a:gd name="T7" fmla="*/ 2147483646 h 81"/>
                <a:gd name="T8" fmla="*/ 2147483646 w 273"/>
                <a:gd name="T9" fmla="*/ 2147483646 h 81"/>
                <a:gd name="T10" fmla="*/ 2147483646 w 273"/>
                <a:gd name="T11" fmla="*/ 0 h 81"/>
                <a:gd name="T12" fmla="*/ 0 w 273"/>
                <a:gd name="T13" fmla="*/ 2147483646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3" h="81">
                  <a:moveTo>
                    <a:pt x="0" y="80"/>
                  </a:moveTo>
                  <a:cubicBezTo>
                    <a:pt x="1" y="80"/>
                    <a:pt x="2" y="81"/>
                    <a:pt x="3" y="81"/>
                  </a:cubicBezTo>
                  <a:cubicBezTo>
                    <a:pt x="136" y="81"/>
                    <a:pt x="136" y="81"/>
                    <a:pt x="136" y="81"/>
                  </a:cubicBezTo>
                  <a:cubicBezTo>
                    <a:pt x="269" y="81"/>
                    <a:pt x="269" y="81"/>
                    <a:pt x="269" y="81"/>
                  </a:cubicBezTo>
                  <a:cubicBezTo>
                    <a:pt x="270" y="81"/>
                    <a:pt x="272" y="80"/>
                    <a:pt x="273" y="80"/>
                  </a:cubicBezTo>
                  <a:cubicBezTo>
                    <a:pt x="136" y="0"/>
                    <a:pt x="136" y="0"/>
                    <a:pt x="136" y="0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0652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21"/>
            <p:cNvSpPr>
              <a:spLocks/>
            </p:cNvSpPr>
            <p:nvPr/>
          </p:nvSpPr>
          <p:spPr bwMode="auto">
            <a:xfrm>
              <a:off x="6102350" y="5151438"/>
              <a:ext cx="809625" cy="374650"/>
            </a:xfrm>
            <a:custGeom>
              <a:avLst/>
              <a:gdLst>
                <a:gd name="T0" fmla="*/ 2147483646 w 173"/>
                <a:gd name="T1" fmla="*/ 0 h 80"/>
                <a:gd name="T2" fmla="*/ 0 w 173"/>
                <a:gd name="T3" fmla="*/ 0 h 80"/>
                <a:gd name="T4" fmla="*/ 2147483646 w 173"/>
                <a:gd name="T5" fmla="*/ 2147483646 h 80"/>
                <a:gd name="T6" fmla="*/ 2147483646 w 173"/>
                <a:gd name="T7" fmla="*/ 2147483646 h 80"/>
                <a:gd name="T8" fmla="*/ 2147483646 w 173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3" h="80">
                  <a:moveTo>
                    <a:pt x="13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7" y="80"/>
                    <a:pt x="137" y="80"/>
                    <a:pt x="137" y="80"/>
                  </a:cubicBezTo>
                  <a:cubicBezTo>
                    <a:pt x="157" y="78"/>
                    <a:pt x="173" y="61"/>
                    <a:pt x="173" y="40"/>
                  </a:cubicBezTo>
                  <a:cubicBezTo>
                    <a:pt x="173" y="18"/>
                    <a:pt x="155" y="0"/>
                    <a:pt x="133" y="0"/>
                  </a:cubicBezTo>
                  <a:close/>
                </a:path>
              </a:pathLst>
            </a:custGeom>
            <a:solidFill>
              <a:srgbClr val="0A43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22"/>
            <p:cNvSpPr>
              <a:spLocks/>
            </p:cNvSpPr>
            <p:nvPr/>
          </p:nvSpPr>
          <p:spPr bwMode="auto">
            <a:xfrm>
              <a:off x="5292725" y="5151438"/>
              <a:ext cx="809625" cy="374650"/>
            </a:xfrm>
            <a:custGeom>
              <a:avLst/>
              <a:gdLst>
                <a:gd name="T0" fmla="*/ 2147483646 w 173"/>
                <a:gd name="T1" fmla="*/ 0 h 80"/>
                <a:gd name="T2" fmla="*/ 0 w 173"/>
                <a:gd name="T3" fmla="*/ 2147483646 h 80"/>
                <a:gd name="T4" fmla="*/ 2147483646 w 173"/>
                <a:gd name="T5" fmla="*/ 2147483646 h 80"/>
                <a:gd name="T6" fmla="*/ 2147483646 w 173"/>
                <a:gd name="T7" fmla="*/ 0 h 80"/>
                <a:gd name="T8" fmla="*/ 2147483646 w 173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3" h="80">
                  <a:moveTo>
                    <a:pt x="40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7" y="79"/>
                    <a:pt x="37" y="80"/>
                  </a:cubicBezTo>
                  <a:cubicBezTo>
                    <a:pt x="173" y="0"/>
                    <a:pt x="173" y="0"/>
                    <a:pt x="173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2070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23"/>
            <p:cNvSpPr>
              <a:spLocks/>
            </p:cNvSpPr>
            <p:nvPr/>
          </p:nvSpPr>
          <p:spPr bwMode="auto">
            <a:xfrm>
              <a:off x="4519613" y="2921000"/>
              <a:ext cx="744537" cy="604838"/>
            </a:xfrm>
            <a:custGeom>
              <a:avLst/>
              <a:gdLst>
                <a:gd name="T0" fmla="*/ 0 w 159"/>
                <a:gd name="T1" fmla="*/ 0 h 129"/>
                <a:gd name="T2" fmla="*/ 2147483646 w 159"/>
                <a:gd name="T3" fmla="*/ 2147483646 h 129"/>
                <a:gd name="T4" fmla="*/ 2147483646 w 159"/>
                <a:gd name="T5" fmla="*/ 2147483646 h 129"/>
                <a:gd name="T6" fmla="*/ 2147483646 w 159"/>
                <a:gd name="T7" fmla="*/ 2147483646 h 129"/>
                <a:gd name="T8" fmla="*/ 0 w 159"/>
                <a:gd name="T9" fmla="*/ 0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9" h="129">
                  <a:moveTo>
                    <a:pt x="0" y="0"/>
                  </a:moveTo>
                  <a:cubicBezTo>
                    <a:pt x="7" y="21"/>
                    <a:pt x="15" y="42"/>
                    <a:pt x="26" y="63"/>
                  </a:cubicBezTo>
                  <a:cubicBezTo>
                    <a:pt x="37" y="87"/>
                    <a:pt x="48" y="108"/>
                    <a:pt x="59" y="129"/>
                  </a:cubicBezTo>
                  <a:cubicBezTo>
                    <a:pt x="159" y="129"/>
                    <a:pt x="159" y="129"/>
                    <a:pt x="159" y="1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2CC6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24"/>
            <p:cNvSpPr>
              <a:spLocks/>
            </p:cNvSpPr>
            <p:nvPr/>
          </p:nvSpPr>
          <p:spPr bwMode="auto">
            <a:xfrm>
              <a:off x="4519613" y="2119313"/>
              <a:ext cx="744537" cy="1406525"/>
            </a:xfrm>
            <a:custGeom>
              <a:avLst/>
              <a:gdLst>
                <a:gd name="T0" fmla="*/ 2147483646 w 159"/>
                <a:gd name="T1" fmla="*/ 2147483646 h 300"/>
                <a:gd name="T2" fmla="*/ 2147483646 w 159"/>
                <a:gd name="T3" fmla="*/ 2147483646 h 300"/>
                <a:gd name="T4" fmla="*/ 2147483646 w 159"/>
                <a:gd name="T5" fmla="*/ 0 h 300"/>
                <a:gd name="T6" fmla="*/ 0 w 159"/>
                <a:gd name="T7" fmla="*/ 2147483646 h 300"/>
                <a:gd name="T8" fmla="*/ 0 w 159"/>
                <a:gd name="T9" fmla="*/ 2147483646 h 300"/>
                <a:gd name="T10" fmla="*/ 2147483646 w 159"/>
                <a:gd name="T11" fmla="*/ 2147483646 h 300"/>
                <a:gd name="T12" fmla="*/ 2147483646 w 159"/>
                <a:gd name="T13" fmla="*/ 2147483646 h 3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9" h="300">
                  <a:moveTo>
                    <a:pt x="140" y="265"/>
                  </a:moveTo>
                  <a:cubicBezTo>
                    <a:pt x="129" y="243"/>
                    <a:pt x="116" y="220"/>
                    <a:pt x="105" y="196"/>
                  </a:cubicBezTo>
                  <a:cubicBezTo>
                    <a:pt x="69" y="123"/>
                    <a:pt x="59" y="61"/>
                    <a:pt x="73" y="0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159" y="300"/>
                    <a:pt x="159" y="300"/>
                    <a:pt x="159" y="300"/>
                  </a:cubicBezTo>
                  <a:cubicBezTo>
                    <a:pt x="153" y="288"/>
                    <a:pt x="146" y="277"/>
                    <a:pt x="140" y="265"/>
                  </a:cubicBezTo>
                  <a:close/>
                </a:path>
              </a:pathLst>
            </a:custGeom>
            <a:solidFill>
              <a:srgbClr val="64D1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25"/>
            <p:cNvSpPr>
              <a:spLocks/>
            </p:cNvSpPr>
            <p:nvPr/>
          </p:nvSpPr>
          <p:spPr bwMode="auto">
            <a:xfrm>
              <a:off x="4398963" y="2119313"/>
              <a:ext cx="463550" cy="801687"/>
            </a:xfrm>
            <a:custGeom>
              <a:avLst/>
              <a:gdLst>
                <a:gd name="T0" fmla="*/ 2147483646 w 99"/>
                <a:gd name="T1" fmla="*/ 0 h 171"/>
                <a:gd name="T2" fmla="*/ 2147483646 w 99"/>
                <a:gd name="T3" fmla="*/ 2147483646 h 171"/>
                <a:gd name="T4" fmla="*/ 2147483646 w 99"/>
                <a:gd name="T5" fmla="*/ 0 h 171"/>
                <a:gd name="T6" fmla="*/ 2147483646 w 99"/>
                <a:gd name="T7" fmla="*/ 0 h 17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9" h="171">
                  <a:moveTo>
                    <a:pt x="9" y="0"/>
                  </a:moveTo>
                  <a:cubicBezTo>
                    <a:pt x="0" y="55"/>
                    <a:pt x="6" y="112"/>
                    <a:pt x="26" y="171"/>
                  </a:cubicBezTo>
                  <a:cubicBezTo>
                    <a:pt x="99" y="0"/>
                    <a:pt x="99" y="0"/>
                    <a:pt x="99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91E5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26"/>
            <p:cNvSpPr>
              <a:spLocks/>
            </p:cNvSpPr>
            <p:nvPr/>
          </p:nvSpPr>
          <p:spPr bwMode="auto">
            <a:xfrm>
              <a:off x="4852988" y="3629025"/>
              <a:ext cx="463550" cy="977900"/>
            </a:xfrm>
            <a:custGeom>
              <a:avLst/>
              <a:gdLst>
                <a:gd name="T0" fmla="*/ 2147483646 w 99"/>
                <a:gd name="T1" fmla="*/ 0 h 209"/>
                <a:gd name="T2" fmla="*/ 0 w 99"/>
                <a:gd name="T3" fmla="*/ 0 h 209"/>
                <a:gd name="T4" fmla="*/ 2147483646 w 99"/>
                <a:gd name="T5" fmla="*/ 2147483646 h 209"/>
                <a:gd name="T6" fmla="*/ 2147483646 w 99"/>
                <a:gd name="T7" fmla="*/ 2147483646 h 209"/>
                <a:gd name="T8" fmla="*/ 2147483646 w 99"/>
                <a:gd name="T9" fmla="*/ 2147483646 h 209"/>
                <a:gd name="T10" fmla="*/ 2147483646 w 99"/>
                <a:gd name="T11" fmla="*/ 0 h 20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9" h="209">
                  <a:moveTo>
                    <a:pt x="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7" y="33"/>
                    <a:pt x="33" y="64"/>
                    <a:pt x="48" y="100"/>
                  </a:cubicBezTo>
                  <a:cubicBezTo>
                    <a:pt x="57" y="122"/>
                    <a:pt x="63" y="155"/>
                    <a:pt x="68" y="184"/>
                  </a:cubicBezTo>
                  <a:cubicBezTo>
                    <a:pt x="70" y="193"/>
                    <a:pt x="71" y="201"/>
                    <a:pt x="73" y="209"/>
                  </a:cubicBezTo>
                  <a:cubicBezTo>
                    <a:pt x="99" y="0"/>
                    <a:pt x="99" y="0"/>
                    <a:pt x="99" y="0"/>
                  </a:cubicBezTo>
                </a:path>
              </a:pathLst>
            </a:custGeom>
            <a:solidFill>
              <a:srgbClr val="0A98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27"/>
            <p:cNvSpPr>
              <a:spLocks/>
            </p:cNvSpPr>
            <p:nvPr/>
          </p:nvSpPr>
          <p:spPr bwMode="auto">
            <a:xfrm>
              <a:off x="5194300" y="4606925"/>
              <a:ext cx="857250" cy="417513"/>
            </a:xfrm>
            <a:custGeom>
              <a:avLst/>
              <a:gdLst>
                <a:gd name="T0" fmla="*/ 2147483646 w 183"/>
                <a:gd name="T1" fmla="*/ 2147483646 h 89"/>
                <a:gd name="T2" fmla="*/ 2147483646 w 183"/>
                <a:gd name="T3" fmla="*/ 2147483646 h 89"/>
                <a:gd name="T4" fmla="*/ 2147483646 w 183"/>
                <a:gd name="T5" fmla="*/ 2147483646 h 89"/>
                <a:gd name="T6" fmla="*/ 2147483646 w 183"/>
                <a:gd name="T7" fmla="*/ 2147483646 h 89"/>
                <a:gd name="T8" fmla="*/ 2147483646 w 183"/>
                <a:gd name="T9" fmla="*/ 2147483646 h 89"/>
                <a:gd name="T10" fmla="*/ 2147483646 w 183"/>
                <a:gd name="T11" fmla="*/ 2147483646 h 89"/>
                <a:gd name="T12" fmla="*/ 2147483646 w 183"/>
                <a:gd name="T13" fmla="*/ 2147483646 h 89"/>
                <a:gd name="T14" fmla="*/ 2147483646 w 183"/>
                <a:gd name="T15" fmla="*/ 0 h 89"/>
                <a:gd name="T16" fmla="*/ 0 w 183"/>
                <a:gd name="T17" fmla="*/ 0 h 89"/>
                <a:gd name="T18" fmla="*/ 2147483646 w 183"/>
                <a:gd name="T19" fmla="*/ 2147483646 h 8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83" h="89">
                  <a:moveTo>
                    <a:pt x="2" y="12"/>
                  </a:moveTo>
                  <a:cubicBezTo>
                    <a:pt x="13" y="65"/>
                    <a:pt x="43" y="88"/>
                    <a:pt x="98" y="89"/>
                  </a:cubicBezTo>
                  <a:cubicBezTo>
                    <a:pt x="106" y="89"/>
                    <a:pt x="113" y="89"/>
                    <a:pt x="121" y="89"/>
                  </a:cubicBezTo>
                  <a:cubicBezTo>
                    <a:pt x="183" y="89"/>
                    <a:pt x="183" y="89"/>
                    <a:pt x="183" y="89"/>
                  </a:cubicBezTo>
                  <a:cubicBezTo>
                    <a:pt x="183" y="1"/>
                    <a:pt x="183" y="1"/>
                    <a:pt x="183" y="1"/>
                  </a:cubicBezTo>
                  <a:cubicBezTo>
                    <a:pt x="121" y="1"/>
                    <a:pt x="121" y="1"/>
                    <a:pt x="121" y="1"/>
                  </a:cubicBezTo>
                  <a:cubicBezTo>
                    <a:pt x="114" y="1"/>
                    <a:pt x="106" y="1"/>
                    <a:pt x="99" y="1"/>
                  </a:cubicBezTo>
                  <a:cubicBezTo>
                    <a:pt x="95" y="1"/>
                    <a:pt x="92" y="1"/>
                    <a:pt x="9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1" y="8"/>
                    <a:pt x="2" y="12"/>
                  </a:cubicBezTo>
                  <a:close/>
                </a:path>
              </a:pathLst>
            </a:custGeom>
            <a:solidFill>
              <a:srgbClr val="68CB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Freeform 28"/>
            <p:cNvSpPr>
              <a:spLocks/>
            </p:cNvSpPr>
            <p:nvPr/>
          </p:nvSpPr>
          <p:spPr bwMode="auto">
            <a:xfrm>
              <a:off x="5194300" y="3629025"/>
              <a:ext cx="420688" cy="977900"/>
            </a:xfrm>
            <a:custGeom>
              <a:avLst/>
              <a:gdLst>
                <a:gd name="T0" fmla="*/ 0 w 90"/>
                <a:gd name="T1" fmla="*/ 2147483646 h 209"/>
                <a:gd name="T2" fmla="*/ 2147483646 w 90"/>
                <a:gd name="T3" fmla="*/ 2147483646 h 209"/>
                <a:gd name="T4" fmla="*/ 2147483646 w 90"/>
                <a:gd name="T5" fmla="*/ 2147483646 h 209"/>
                <a:gd name="T6" fmla="*/ 2147483646 w 90"/>
                <a:gd name="T7" fmla="*/ 2147483646 h 209"/>
                <a:gd name="T8" fmla="*/ 2147483646 w 90"/>
                <a:gd name="T9" fmla="*/ 2147483646 h 209"/>
                <a:gd name="T10" fmla="*/ 2147483646 w 90"/>
                <a:gd name="T11" fmla="*/ 0 h 209"/>
                <a:gd name="T12" fmla="*/ 0 w 90"/>
                <a:gd name="T13" fmla="*/ 2147483646 h 209"/>
                <a:gd name="T14" fmla="*/ 0 w 90"/>
                <a:gd name="T15" fmla="*/ 2147483646 h 20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0" h="209">
                  <a:moveTo>
                    <a:pt x="0" y="209"/>
                  </a:moveTo>
                  <a:cubicBezTo>
                    <a:pt x="90" y="209"/>
                    <a:pt x="90" y="209"/>
                    <a:pt x="90" y="209"/>
                  </a:cubicBezTo>
                  <a:cubicBezTo>
                    <a:pt x="89" y="208"/>
                    <a:pt x="89" y="206"/>
                    <a:pt x="88" y="203"/>
                  </a:cubicBezTo>
                  <a:cubicBezTo>
                    <a:pt x="86" y="192"/>
                    <a:pt x="84" y="181"/>
                    <a:pt x="82" y="169"/>
                  </a:cubicBezTo>
                  <a:cubicBezTo>
                    <a:pt x="76" y="136"/>
                    <a:pt x="69" y="98"/>
                    <a:pt x="56" y="66"/>
                  </a:cubicBezTo>
                  <a:cubicBezTo>
                    <a:pt x="47" y="43"/>
                    <a:pt x="36" y="21"/>
                    <a:pt x="26" y="0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09"/>
                    <a:pt x="0" y="209"/>
                    <a:pt x="0" y="209"/>
                  </a:cubicBezTo>
                </a:path>
              </a:pathLst>
            </a:custGeom>
            <a:solidFill>
              <a:srgbClr val="34B2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Freeform 29"/>
            <p:cNvSpPr>
              <a:spLocks/>
            </p:cNvSpPr>
            <p:nvPr/>
          </p:nvSpPr>
          <p:spPr bwMode="auto">
            <a:xfrm>
              <a:off x="4459288" y="1168400"/>
              <a:ext cx="585787" cy="847725"/>
            </a:xfrm>
            <a:custGeom>
              <a:avLst/>
              <a:gdLst>
                <a:gd name="T0" fmla="*/ 2147483646 w 125"/>
                <a:gd name="T1" fmla="*/ 0 h 181"/>
                <a:gd name="T2" fmla="*/ 2147483646 w 125"/>
                <a:gd name="T3" fmla="*/ 2147483646 h 181"/>
                <a:gd name="T4" fmla="*/ 0 w 125"/>
                <a:gd name="T5" fmla="*/ 2147483646 h 181"/>
                <a:gd name="T6" fmla="*/ 2147483646 w 125"/>
                <a:gd name="T7" fmla="*/ 2147483646 h 181"/>
                <a:gd name="T8" fmla="*/ 2147483646 w 125"/>
                <a:gd name="T9" fmla="*/ 0 h 1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" h="181">
                  <a:moveTo>
                    <a:pt x="125" y="0"/>
                  </a:moveTo>
                  <a:cubicBezTo>
                    <a:pt x="60" y="48"/>
                    <a:pt x="16" y="114"/>
                    <a:pt x="1" y="178"/>
                  </a:cubicBezTo>
                  <a:cubicBezTo>
                    <a:pt x="1" y="179"/>
                    <a:pt x="1" y="180"/>
                    <a:pt x="0" y="181"/>
                  </a:cubicBezTo>
                  <a:cubicBezTo>
                    <a:pt x="92" y="181"/>
                    <a:pt x="92" y="181"/>
                    <a:pt x="92" y="181"/>
                  </a:cubicBezTo>
                  <a:lnTo>
                    <a:pt x="125" y="0"/>
                  </a:lnTo>
                  <a:close/>
                </a:path>
              </a:pathLst>
            </a:custGeom>
            <a:solidFill>
              <a:srgbClr val="58D1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30"/>
            <p:cNvSpPr>
              <a:spLocks/>
            </p:cNvSpPr>
            <p:nvPr/>
          </p:nvSpPr>
          <p:spPr bwMode="auto">
            <a:xfrm>
              <a:off x="5045075" y="822325"/>
              <a:ext cx="1006475" cy="411163"/>
            </a:xfrm>
            <a:custGeom>
              <a:avLst/>
              <a:gdLst>
                <a:gd name="T0" fmla="*/ 2147483646 w 215"/>
                <a:gd name="T1" fmla="*/ 0 h 88"/>
                <a:gd name="T2" fmla="*/ 0 w 215"/>
                <a:gd name="T3" fmla="*/ 2147483646 h 88"/>
                <a:gd name="T4" fmla="*/ 2147483646 w 215"/>
                <a:gd name="T5" fmla="*/ 2147483646 h 88"/>
                <a:gd name="T6" fmla="*/ 2147483646 w 215"/>
                <a:gd name="T7" fmla="*/ 0 h 8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5" h="88">
                  <a:moveTo>
                    <a:pt x="215" y="0"/>
                  </a:moveTo>
                  <a:cubicBezTo>
                    <a:pt x="130" y="2"/>
                    <a:pt x="57" y="31"/>
                    <a:pt x="0" y="74"/>
                  </a:cubicBezTo>
                  <a:cubicBezTo>
                    <a:pt x="215" y="88"/>
                    <a:pt x="215" y="88"/>
                    <a:pt x="215" y="88"/>
                  </a:cubicBezTo>
                  <a:lnTo>
                    <a:pt x="215" y="0"/>
                  </a:lnTo>
                  <a:close/>
                </a:path>
              </a:pathLst>
            </a:custGeom>
            <a:solidFill>
              <a:srgbClr val="7EE6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Freeform 31"/>
            <p:cNvSpPr>
              <a:spLocks/>
            </p:cNvSpPr>
            <p:nvPr/>
          </p:nvSpPr>
          <p:spPr bwMode="auto">
            <a:xfrm>
              <a:off x="4889500" y="1168400"/>
              <a:ext cx="1162050" cy="847725"/>
            </a:xfrm>
            <a:custGeom>
              <a:avLst/>
              <a:gdLst>
                <a:gd name="T0" fmla="*/ 2147483646 w 248"/>
                <a:gd name="T1" fmla="*/ 2147483646 h 181"/>
                <a:gd name="T2" fmla="*/ 2147483646 w 248"/>
                <a:gd name="T3" fmla="*/ 0 h 181"/>
                <a:gd name="T4" fmla="*/ 2147483646 w 248"/>
                <a:gd name="T5" fmla="*/ 0 h 181"/>
                <a:gd name="T6" fmla="*/ 0 w 248"/>
                <a:gd name="T7" fmla="*/ 2147483646 h 181"/>
                <a:gd name="T8" fmla="*/ 2147483646 w 248"/>
                <a:gd name="T9" fmla="*/ 2147483646 h 1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8" h="181">
                  <a:moveTo>
                    <a:pt x="248" y="14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29" y="99"/>
                    <a:pt x="124" y="19"/>
                    <a:pt x="248" y="14"/>
                  </a:cubicBezTo>
                  <a:close/>
                </a:path>
              </a:pathLst>
            </a:custGeom>
            <a:solidFill>
              <a:srgbClr val="69DA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Freeform 32"/>
            <p:cNvSpPr>
              <a:spLocks/>
            </p:cNvSpPr>
            <p:nvPr/>
          </p:nvSpPr>
          <p:spPr bwMode="auto">
            <a:xfrm>
              <a:off x="6940550" y="2119313"/>
              <a:ext cx="766763" cy="1406525"/>
            </a:xfrm>
            <a:custGeom>
              <a:avLst/>
              <a:gdLst>
                <a:gd name="T0" fmla="*/ 2147483646 w 164"/>
                <a:gd name="T1" fmla="*/ 0 h 300"/>
                <a:gd name="T2" fmla="*/ 2147483646 w 164"/>
                <a:gd name="T3" fmla="*/ 2147483646 h 300"/>
                <a:gd name="T4" fmla="*/ 2147483646 w 164"/>
                <a:gd name="T5" fmla="*/ 2147483646 h 300"/>
                <a:gd name="T6" fmla="*/ 0 w 164"/>
                <a:gd name="T7" fmla="*/ 2147483646 h 300"/>
                <a:gd name="T8" fmla="*/ 2147483646 w 164"/>
                <a:gd name="T9" fmla="*/ 2147483646 h 300"/>
                <a:gd name="T10" fmla="*/ 2147483646 w 164"/>
                <a:gd name="T11" fmla="*/ 2147483646 h 300"/>
                <a:gd name="T12" fmla="*/ 2147483646 w 164"/>
                <a:gd name="T13" fmla="*/ 0 h 3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64" h="300">
                  <a:moveTo>
                    <a:pt x="86" y="0"/>
                  </a:moveTo>
                  <a:cubicBezTo>
                    <a:pt x="100" y="61"/>
                    <a:pt x="90" y="123"/>
                    <a:pt x="54" y="196"/>
                  </a:cubicBezTo>
                  <a:cubicBezTo>
                    <a:pt x="43" y="220"/>
                    <a:pt x="31" y="243"/>
                    <a:pt x="19" y="265"/>
                  </a:cubicBezTo>
                  <a:cubicBezTo>
                    <a:pt x="13" y="277"/>
                    <a:pt x="7" y="288"/>
                    <a:pt x="0" y="300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4" y="158"/>
                    <a:pt x="164" y="158"/>
                    <a:pt x="164" y="158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rgbClr val="FF91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33"/>
            <p:cNvSpPr>
              <a:spLocks/>
            </p:cNvSpPr>
            <p:nvPr/>
          </p:nvSpPr>
          <p:spPr bwMode="auto">
            <a:xfrm>
              <a:off x="6940550" y="2860675"/>
              <a:ext cx="766763" cy="665163"/>
            </a:xfrm>
            <a:custGeom>
              <a:avLst/>
              <a:gdLst>
                <a:gd name="T0" fmla="*/ 2147483646 w 164"/>
                <a:gd name="T1" fmla="*/ 2147483646 h 142"/>
                <a:gd name="T2" fmla="*/ 2147483646 w 164"/>
                <a:gd name="T3" fmla="*/ 2147483646 h 142"/>
                <a:gd name="T4" fmla="*/ 2147483646 w 164"/>
                <a:gd name="T5" fmla="*/ 0 h 142"/>
                <a:gd name="T6" fmla="*/ 0 w 164"/>
                <a:gd name="T7" fmla="*/ 2147483646 h 142"/>
                <a:gd name="T8" fmla="*/ 2147483646 w 164"/>
                <a:gd name="T9" fmla="*/ 2147483646 h 14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4" h="142">
                  <a:moveTo>
                    <a:pt x="100" y="142"/>
                  </a:moveTo>
                  <a:cubicBezTo>
                    <a:pt x="111" y="121"/>
                    <a:pt x="122" y="100"/>
                    <a:pt x="133" y="76"/>
                  </a:cubicBezTo>
                  <a:cubicBezTo>
                    <a:pt x="146" y="50"/>
                    <a:pt x="156" y="25"/>
                    <a:pt x="164" y="0"/>
                  </a:cubicBezTo>
                  <a:cubicBezTo>
                    <a:pt x="0" y="142"/>
                    <a:pt x="0" y="142"/>
                    <a:pt x="0" y="142"/>
                  </a:cubicBezTo>
                  <a:lnTo>
                    <a:pt x="100" y="142"/>
                  </a:lnTo>
                  <a:close/>
                </a:path>
              </a:pathLst>
            </a:custGeom>
            <a:solidFill>
              <a:srgbClr val="FA79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Freeform 34"/>
            <p:cNvSpPr>
              <a:spLocks/>
            </p:cNvSpPr>
            <p:nvPr/>
          </p:nvSpPr>
          <p:spPr bwMode="auto">
            <a:xfrm>
              <a:off x="7342188" y="2119313"/>
              <a:ext cx="458787" cy="741362"/>
            </a:xfrm>
            <a:custGeom>
              <a:avLst/>
              <a:gdLst>
                <a:gd name="T0" fmla="*/ 2147483646 w 98"/>
                <a:gd name="T1" fmla="*/ 0 h 158"/>
                <a:gd name="T2" fmla="*/ 0 w 98"/>
                <a:gd name="T3" fmla="*/ 0 h 158"/>
                <a:gd name="T4" fmla="*/ 2147483646 w 98"/>
                <a:gd name="T5" fmla="*/ 2147483646 h 158"/>
                <a:gd name="T6" fmla="*/ 2147483646 w 98"/>
                <a:gd name="T7" fmla="*/ 0 h 15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8" h="158">
                  <a:moveTo>
                    <a:pt x="9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8" y="158"/>
                    <a:pt x="78" y="158"/>
                    <a:pt x="78" y="158"/>
                  </a:cubicBezTo>
                  <a:cubicBezTo>
                    <a:pt x="94" y="103"/>
                    <a:pt x="98" y="51"/>
                    <a:pt x="90" y="0"/>
                  </a:cubicBezTo>
                  <a:close/>
                </a:path>
              </a:pathLst>
            </a:custGeom>
            <a:solidFill>
              <a:srgbClr val="FFA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35"/>
            <p:cNvSpPr>
              <a:spLocks/>
            </p:cNvSpPr>
            <p:nvPr/>
          </p:nvSpPr>
          <p:spPr bwMode="auto">
            <a:xfrm>
              <a:off x="7159625" y="1168400"/>
              <a:ext cx="585788" cy="847725"/>
            </a:xfrm>
            <a:custGeom>
              <a:avLst/>
              <a:gdLst>
                <a:gd name="T0" fmla="*/ 2147483646 w 125"/>
                <a:gd name="T1" fmla="*/ 2147483646 h 181"/>
                <a:gd name="T2" fmla="*/ 2147483646 w 125"/>
                <a:gd name="T3" fmla="*/ 2147483646 h 181"/>
                <a:gd name="T4" fmla="*/ 0 w 125"/>
                <a:gd name="T5" fmla="*/ 0 h 181"/>
                <a:gd name="T6" fmla="*/ 2147483646 w 125"/>
                <a:gd name="T7" fmla="*/ 2147483646 h 181"/>
                <a:gd name="T8" fmla="*/ 2147483646 w 125"/>
                <a:gd name="T9" fmla="*/ 2147483646 h 1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" h="181">
                  <a:moveTo>
                    <a:pt x="125" y="181"/>
                  </a:moveTo>
                  <a:cubicBezTo>
                    <a:pt x="124" y="180"/>
                    <a:pt x="124" y="179"/>
                    <a:pt x="124" y="178"/>
                  </a:cubicBezTo>
                  <a:cubicBezTo>
                    <a:pt x="109" y="114"/>
                    <a:pt x="65" y="48"/>
                    <a:pt x="0" y="0"/>
                  </a:cubicBezTo>
                  <a:cubicBezTo>
                    <a:pt x="33" y="181"/>
                    <a:pt x="33" y="181"/>
                    <a:pt x="33" y="181"/>
                  </a:cubicBezTo>
                  <a:lnTo>
                    <a:pt x="125" y="181"/>
                  </a:lnTo>
                  <a:close/>
                </a:path>
              </a:pathLst>
            </a:custGeom>
            <a:solidFill>
              <a:srgbClr val="FAB3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36"/>
            <p:cNvSpPr>
              <a:spLocks/>
            </p:cNvSpPr>
            <p:nvPr/>
          </p:nvSpPr>
          <p:spPr bwMode="auto">
            <a:xfrm>
              <a:off x="6153150" y="1168400"/>
              <a:ext cx="1162050" cy="847725"/>
            </a:xfrm>
            <a:custGeom>
              <a:avLst/>
              <a:gdLst>
                <a:gd name="T0" fmla="*/ 2147483646 w 248"/>
                <a:gd name="T1" fmla="*/ 2147483646 h 181"/>
                <a:gd name="T2" fmla="*/ 2147483646 w 248"/>
                <a:gd name="T3" fmla="*/ 0 h 181"/>
                <a:gd name="T4" fmla="*/ 0 w 248"/>
                <a:gd name="T5" fmla="*/ 2147483646 h 181"/>
                <a:gd name="T6" fmla="*/ 2147483646 w 248"/>
                <a:gd name="T7" fmla="*/ 2147483646 h 1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8" h="181">
                  <a:moveTo>
                    <a:pt x="248" y="181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24" y="18"/>
                    <a:pt x="219" y="98"/>
                    <a:pt x="248" y="181"/>
                  </a:cubicBezTo>
                  <a:close/>
                </a:path>
              </a:pathLst>
            </a:custGeom>
            <a:solidFill>
              <a:srgbClr val="FFCA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37"/>
            <p:cNvSpPr>
              <a:spLocks/>
            </p:cNvSpPr>
            <p:nvPr/>
          </p:nvSpPr>
          <p:spPr bwMode="auto">
            <a:xfrm>
              <a:off x="6153150" y="822325"/>
              <a:ext cx="1006475" cy="411163"/>
            </a:xfrm>
            <a:custGeom>
              <a:avLst/>
              <a:gdLst>
                <a:gd name="T0" fmla="*/ 0 w 215"/>
                <a:gd name="T1" fmla="*/ 0 h 88"/>
                <a:gd name="T2" fmla="*/ 0 w 215"/>
                <a:gd name="T3" fmla="*/ 2147483646 h 88"/>
                <a:gd name="T4" fmla="*/ 2147483646 w 215"/>
                <a:gd name="T5" fmla="*/ 2147483646 h 88"/>
                <a:gd name="T6" fmla="*/ 0 w 215"/>
                <a:gd name="T7" fmla="*/ 0 h 8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5" h="88">
                  <a:moveTo>
                    <a:pt x="0" y="0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215" y="74"/>
                    <a:pt x="215" y="74"/>
                    <a:pt x="215" y="74"/>
                  </a:cubicBezTo>
                  <a:cubicBezTo>
                    <a:pt x="158" y="31"/>
                    <a:pt x="85" y="2"/>
                    <a:pt x="0" y="0"/>
                  </a:cubicBezTo>
                  <a:close/>
                </a:path>
              </a:pathLst>
            </a:custGeom>
            <a:solidFill>
              <a:srgbClr val="FFDA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38"/>
            <p:cNvSpPr>
              <a:spLocks/>
            </p:cNvSpPr>
            <p:nvPr/>
          </p:nvSpPr>
          <p:spPr bwMode="auto">
            <a:xfrm>
              <a:off x="6589713" y="3629025"/>
              <a:ext cx="420687" cy="977900"/>
            </a:xfrm>
            <a:custGeom>
              <a:avLst/>
              <a:gdLst>
                <a:gd name="T0" fmla="*/ 2147483646 w 90"/>
                <a:gd name="T1" fmla="*/ 2147483646 h 209"/>
                <a:gd name="T2" fmla="*/ 2147483646 w 90"/>
                <a:gd name="T3" fmla="*/ 2147483646 h 209"/>
                <a:gd name="T4" fmla="*/ 2147483646 w 90"/>
                <a:gd name="T5" fmla="*/ 2147483646 h 209"/>
                <a:gd name="T6" fmla="*/ 0 w 90"/>
                <a:gd name="T7" fmla="*/ 2147483646 h 209"/>
                <a:gd name="T8" fmla="*/ 2147483646 w 90"/>
                <a:gd name="T9" fmla="*/ 2147483646 h 209"/>
                <a:gd name="T10" fmla="*/ 2147483646 w 90"/>
                <a:gd name="T11" fmla="*/ 2147483646 h 209"/>
                <a:gd name="T12" fmla="*/ 2147483646 w 90"/>
                <a:gd name="T13" fmla="*/ 0 h 209"/>
                <a:gd name="T14" fmla="*/ 2147483646 w 90"/>
                <a:gd name="T15" fmla="*/ 2147483646 h 20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0" h="209">
                  <a:moveTo>
                    <a:pt x="34" y="66"/>
                  </a:moveTo>
                  <a:cubicBezTo>
                    <a:pt x="21" y="98"/>
                    <a:pt x="14" y="136"/>
                    <a:pt x="8" y="169"/>
                  </a:cubicBezTo>
                  <a:cubicBezTo>
                    <a:pt x="6" y="181"/>
                    <a:pt x="4" y="192"/>
                    <a:pt x="2" y="203"/>
                  </a:cubicBezTo>
                  <a:cubicBezTo>
                    <a:pt x="2" y="206"/>
                    <a:pt x="1" y="208"/>
                    <a:pt x="0" y="209"/>
                  </a:cubicBezTo>
                  <a:cubicBezTo>
                    <a:pt x="90" y="209"/>
                    <a:pt x="90" y="209"/>
                    <a:pt x="90" y="209"/>
                  </a:cubicBezTo>
                  <a:cubicBezTo>
                    <a:pt x="90" y="209"/>
                    <a:pt x="90" y="209"/>
                    <a:pt x="90" y="209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54" y="21"/>
                    <a:pt x="44" y="43"/>
                    <a:pt x="34" y="66"/>
                  </a:cubicBezTo>
                </a:path>
              </a:pathLst>
            </a:custGeom>
            <a:solidFill>
              <a:srgbClr val="E249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39"/>
            <p:cNvSpPr>
              <a:spLocks/>
            </p:cNvSpPr>
            <p:nvPr/>
          </p:nvSpPr>
          <p:spPr bwMode="auto">
            <a:xfrm>
              <a:off x="6153150" y="4606925"/>
              <a:ext cx="857250" cy="417513"/>
            </a:xfrm>
            <a:custGeom>
              <a:avLst/>
              <a:gdLst>
                <a:gd name="T0" fmla="*/ 2147483646 w 183"/>
                <a:gd name="T1" fmla="*/ 2147483646 h 89"/>
                <a:gd name="T2" fmla="*/ 2147483646 w 183"/>
                <a:gd name="T3" fmla="*/ 2147483646 h 89"/>
                <a:gd name="T4" fmla="*/ 0 w 183"/>
                <a:gd name="T5" fmla="*/ 2147483646 h 89"/>
                <a:gd name="T6" fmla="*/ 0 w 183"/>
                <a:gd name="T7" fmla="*/ 2147483646 h 89"/>
                <a:gd name="T8" fmla="*/ 2147483646 w 183"/>
                <a:gd name="T9" fmla="*/ 2147483646 h 89"/>
                <a:gd name="T10" fmla="*/ 2147483646 w 183"/>
                <a:gd name="T11" fmla="*/ 2147483646 h 89"/>
                <a:gd name="T12" fmla="*/ 2147483646 w 183"/>
                <a:gd name="T13" fmla="*/ 2147483646 h 89"/>
                <a:gd name="T14" fmla="*/ 2147483646 w 183"/>
                <a:gd name="T15" fmla="*/ 0 h 89"/>
                <a:gd name="T16" fmla="*/ 2147483646 w 183"/>
                <a:gd name="T17" fmla="*/ 0 h 89"/>
                <a:gd name="T18" fmla="*/ 2147483646 w 183"/>
                <a:gd name="T19" fmla="*/ 2147483646 h 8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83" h="89">
                  <a:moveTo>
                    <a:pt x="84" y="1"/>
                  </a:moveTo>
                  <a:cubicBezTo>
                    <a:pt x="77" y="1"/>
                    <a:pt x="70" y="1"/>
                    <a:pt x="62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0" y="89"/>
                    <a:pt x="77" y="89"/>
                    <a:pt x="85" y="89"/>
                  </a:cubicBezTo>
                  <a:cubicBezTo>
                    <a:pt x="140" y="88"/>
                    <a:pt x="170" y="65"/>
                    <a:pt x="181" y="12"/>
                  </a:cubicBezTo>
                  <a:cubicBezTo>
                    <a:pt x="182" y="8"/>
                    <a:pt x="183" y="4"/>
                    <a:pt x="183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1" y="1"/>
                    <a:pt x="88" y="1"/>
                    <a:pt x="84" y="1"/>
                  </a:cubicBezTo>
                  <a:close/>
                </a:path>
              </a:pathLst>
            </a:custGeom>
            <a:solidFill>
              <a:srgbClr val="F06E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40"/>
            <p:cNvSpPr>
              <a:spLocks/>
            </p:cNvSpPr>
            <p:nvPr/>
          </p:nvSpPr>
          <p:spPr bwMode="auto">
            <a:xfrm>
              <a:off x="6888163" y="3629025"/>
              <a:ext cx="463550" cy="977900"/>
            </a:xfrm>
            <a:custGeom>
              <a:avLst/>
              <a:gdLst>
                <a:gd name="T0" fmla="*/ 2147483646 w 99"/>
                <a:gd name="T1" fmla="*/ 2147483646 h 209"/>
                <a:gd name="T2" fmla="*/ 2147483646 w 99"/>
                <a:gd name="T3" fmla="*/ 2147483646 h 209"/>
                <a:gd name="T4" fmla="*/ 2147483646 w 99"/>
                <a:gd name="T5" fmla="*/ 2147483646 h 209"/>
                <a:gd name="T6" fmla="*/ 2147483646 w 99"/>
                <a:gd name="T7" fmla="*/ 0 h 209"/>
                <a:gd name="T8" fmla="*/ 0 w 99"/>
                <a:gd name="T9" fmla="*/ 0 h 209"/>
                <a:gd name="T10" fmla="*/ 2147483646 w 99"/>
                <a:gd name="T11" fmla="*/ 2147483646 h 20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9" h="209">
                  <a:moveTo>
                    <a:pt x="26" y="209"/>
                  </a:moveTo>
                  <a:cubicBezTo>
                    <a:pt x="28" y="201"/>
                    <a:pt x="29" y="193"/>
                    <a:pt x="31" y="184"/>
                  </a:cubicBezTo>
                  <a:cubicBezTo>
                    <a:pt x="36" y="155"/>
                    <a:pt x="42" y="122"/>
                    <a:pt x="51" y="100"/>
                  </a:cubicBezTo>
                  <a:cubicBezTo>
                    <a:pt x="66" y="64"/>
                    <a:pt x="82" y="33"/>
                    <a:pt x="9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209"/>
                    <a:pt x="26" y="209"/>
                    <a:pt x="26" y="209"/>
                  </a:cubicBezTo>
                </a:path>
              </a:pathLst>
            </a:custGeom>
            <a:solidFill>
              <a:srgbClr val="CC23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41"/>
            <p:cNvSpPr>
              <a:spLocks/>
            </p:cNvSpPr>
            <p:nvPr/>
          </p:nvSpPr>
          <p:spPr bwMode="auto">
            <a:xfrm>
              <a:off x="6102350" y="5657850"/>
              <a:ext cx="809625" cy="374650"/>
            </a:xfrm>
            <a:custGeom>
              <a:avLst/>
              <a:gdLst>
                <a:gd name="T0" fmla="*/ 2147483646 w 173"/>
                <a:gd name="T1" fmla="*/ 0 h 80"/>
                <a:gd name="T2" fmla="*/ 0 w 173"/>
                <a:gd name="T3" fmla="*/ 0 h 80"/>
                <a:gd name="T4" fmla="*/ 2147483646 w 173"/>
                <a:gd name="T5" fmla="*/ 2147483646 h 80"/>
                <a:gd name="T6" fmla="*/ 2147483646 w 173"/>
                <a:gd name="T7" fmla="*/ 2147483646 h 80"/>
                <a:gd name="T8" fmla="*/ 2147483646 w 173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3" h="80">
                  <a:moveTo>
                    <a:pt x="13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7" y="80"/>
                    <a:pt x="137" y="80"/>
                    <a:pt x="137" y="80"/>
                  </a:cubicBezTo>
                  <a:cubicBezTo>
                    <a:pt x="157" y="78"/>
                    <a:pt x="173" y="61"/>
                    <a:pt x="173" y="40"/>
                  </a:cubicBezTo>
                  <a:cubicBezTo>
                    <a:pt x="173" y="18"/>
                    <a:pt x="155" y="0"/>
                    <a:pt x="133" y="0"/>
                  </a:cubicBezTo>
                  <a:close/>
                </a:path>
              </a:pathLst>
            </a:custGeom>
            <a:solidFill>
              <a:srgbClr val="7801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42"/>
            <p:cNvSpPr>
              <a:spLocks/>
            </p:cNvSpPr>
            <p:nvPr/>
          </p:nvSpPr>
          <p:spPr bwMode="auto">
            <a:xfrm>
              <a:off x="5292725" y="5657850"/>
              <a:ext cx="809625" cy="374650"/>
            </a:xfrm>
            <a:custGeom>
              <a:avLst/>
              <a:gdLst>
                <a:gd name="T0" fmla="*/ 2147483646 w 173"/>
                <a:gd name="T1" fmla="*/ 0 h 80"/>
                <a:gd name="T2" fmla="*/ 0 w 173"/>
                <a:gd name="T3" fmla="*/ 2147483646 h 80"/>
                <a:gd name="T4" fmla="*/ 2147483646 w 173"/>
                <a:gd name="T5" fmla="*/ 2147483646 h 80"/>
                <a:gd name="T6" fmla="*/ 2147483646 w 173"/>
                <a:gd name="T7" fmla="*/ 0 h 80"/>
                <a:gd name="T8" fmla="*/ 2147483646 w 173"/>
                <a:gd name="T9" fmla="*/ 0 h 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3" h="80">
                  <a:moveTo>
                    <a:pt x="40" y="0"/>
                  </a:moveTo>
                  <a:cubicBezTo>
                    <a:pt x="18" y="0"/>
                    <a:pt x="0" y="18"/>
                    <a:pt x="0" y="40"/>
                  </a:cubicBezTo>
                  <a:cubicBezTo>
                    <a:pt x="0" y="62"/>
                    <a:pt x="17" y="79"/>
                    <a:pt x="37" y="80"/>
                  </a:cubicBezTo>
                  <a:cubicBezTo>
                    <a:pt x="173" y="0"/>
                    <a:pt x="173" y="0"/>
                    <a:pt x="173" y="0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rgbClr val="A632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Freeform 43"/>
            <p:cNvSpPr>
              <a:spLocks/>
            </p:cNvSpPr>
            <p:nvPr/>
          </p:nvSpPr>
          <p:spPr bwMode="auto">
            <a:xfrm>
              <a:off x="5465763" y="5657850"/>
              <a:ext cx="1277937" cy="374650"/>
            </a:xfrm>
            <a:custGeom>
              <a:avLst/>
              <a:gdLst>
                <a:gd name="T0" fmla="*/ 0 w 273"/>
                <a:gd name="T1" fmla="*/ 2147483646 h 80"/>
                <a:gd name="T2" fmla="*/ 2147483646 w 273"/>
                <a:gd name="T3" fmla="*/ 2147483646 h 80"/>
                <a:gd name="T4" fmla="*/ 2147483646 w 273"/>
                <a:gd name="T5" fmla="*/ 2147483646 h 80"/>
                <a:gd name="T6" fmla="*/ 2147483646 w 273"/>
                <a:gd name="T7" fmla="*/ 2147483646 h 80"/>
                <a:gd name="T8" fmla="*/ 2147483646 w 273"/>
                <a:gd name="T9" fmla="*/ 2147483646 h 80"/>
                <a:gd name="T10" fmla="*/ 2147483646 w 273"/>
                <a:gd name="T11" fmla="*/ 0 h 80"/>
                <a:gd name="T12" fmla="*/ 0 w 273"/>
                <a:gd name="T13" fmla="*/ 2147483646 h 8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3" h="80">
                  <a:moveTo>
                    <a:pt x="0" y="80"/>
                  </a:moveTo>
                  <a:cubicBezTo>
                    <a:pt x="1" y="80"/>
                    <a:pt x="2" y="80"/>
                    <a:pt x="3" y="80"/>
                  </a:cubicBezTo>
                  <a:cubicBezTo>
                    <a:pt x="136" y="80"/>
                    <a:pt x="136" y="80"/>
                    <a:pt x="136" y="80"/>
                  </a:cubicBezTo>
                  <a:cubicBezTo>
                    <a:pt x="269" y="80"/>
                    <a:pt x="269" y="80"/>
                    <a:pt x="269" y="80"/>
                  </a:cubicBezTo>
                  <a:cubicBezTo>
                    <a:pt x="270" y="80"/>
                    <a:pt x="272" y="80"/>
                    <a:pt x="273" y="80"/>
                  </a:cubicBezTo>
                  <a:cubicBezTo>
                    <a:pt x="136" y="0"/>
                    <a:pt x="136" y="0"/>
                    <a:pt x="136" y="0"/>
                  </a:cubicBezTo>
                  <a:lnTo>
                    <a:pt x="0" y="80"/>
                  </a:lnTo>
                  <a:close/>
                </a:path>
              </a:pathLst>
            </a:custGeom>
            <a:solidFill>
              <a:srgbClr val="8C10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Freeform 44"/>
            <p:cNvSpPr>
              <a:spLocks/>
            </p:cNvSpPr>
            <p:nvPr/>
          </p:nvSpPr>
          <p:spPr bwMode="auto">
            <a:xfrm>
              <a:off x="5597525" y="4532313"/>
              <a:ext cx="17463" cy="74612"/>
            </a:xfrm>
            <a:custGeom>
              <a:avLst/>
              <a:gdLst>
                <a:gd name="T0" fmla="*/ 0 w 4"/>
                <a:gd name="T1" fmla="*/ 0 h 16"/>
                <a:gd name="T2" fmla="*/ 0 w 4"/>
                <a:gd name="T3" fmla="*/ 0 h 16"/>
                <a:gd name="T4" fmla="*/ 2147483646 w 4"/>
                <a:gd name="T5" fmla="*/ 2147483646 h 16"/>
                <a:gd name="T6" fmla="*/ 2147483646 w 4"/>
                <a:gd name="T7" fmla="*/ 2147483646 h 16"/>
                <a:gd name="T8" fmla="*/ 2147483646 w 4"/>
                <a:gd name="T9" fmla="*/ 2147483646 h 16"/>
                <a:gd name="T10" fmla="*/ 0 w 4"/>
                <a:gd name="T11" fmla="*/ 0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" h="1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1" y="6"/>
                    <a:pt x="2" y="10"/>
                  </a:cubicBezTo>
                  <a:cubicBezTo>
                    <a:pt x="3" y="13"/>
                    <a:pt x="3" y="15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84CB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Freeform 45"/>
            <p:cNvSpPr>
              <a:spLocks/>
            </p:cNvSpPr>
            <p:nvPr/>
          </p:nvSpPr>
          <p:spPr bwMode="auto">
            <a:xfrm>
              <a:off x="5194300" y="4532313"/>
              <a:ext cx="420688" cy="74612"/>
            </a:xfrm>
            <a:custGeom>
              <a:avLst/>
              <a:gdLst>
                <a:gd name="T0" fmla="*/ 2147483646 w 90"/>
                <a:gd name="T1" fmla="*/ 0 h 16"/>
                <a:gd name="T2" fmla="*/ 0 w 90"/>
                <a:gd name="T3" fmla="*/ 2147483646 h 16"/>
                <a:gd name="T4" fmla="*/ 2147483646 w 90"/>
                <a:gd name="T5" fmla="*/ 2147483646 h 16"/>
                <a:gd name="T6" fmla="*/ 2147483646 w 90"/>
                <a:gd name="T7" fmla="*/ 2147483646 h 16"/>
                <a:gd name="T8" fmla="*/ 2147483646 w 90"/>
                <a:gd name="T9" fmla="*/ 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0" h="16">
                  <a:moveTo>
                    <a:pt x="86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89" y="15"/>
                    <a:pt x="89" y="13"/>
                    <a:pt x="88" y="10"/>
                  </a:cubicBezTo>
                  <a:cubicBezTo>
                    <a:pt x="87" y="6"/>
                    <a:pt x="87" y="3"/>
                    <a:pt x="86" y="0"/>
                  </a:cubicBezTo>
                </a:path>
              </a:pathLst>
            </a:custGeom>
            <a:solidFill>
              <a:srgbClr val="1FA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Freeform 46"/>
            <p:cNvSpPr>
              <a:spLocks noEditPoints="1"/>
            </p:cNvSpPr>
            <p:nvPr/>
          </p:nvSpPr>
          <p:spPr bwMode="auto">
            <a:xfrm>
              <a:off x="6589713" y="4532313"/>
              <a:ext cx="420687" cy="74612"/>
            </a:xfrm>
            <a:custGeom>
              <a:avLst/>
              <a:gdLst>
                <a:gd name="T0" fmla="*/ 2147483646 w 90"/>
                <a:gd name="T1" fmla="*/ 2147483646 h 16"/>
                <a:gd name="T2" fmla="*/ 2147483646 w 90"/>
                <a:gd name="T3" fmla="*/ 2147483646 h 16"/>
                <a:gd name="T4" fmla="*/ 2147483646 w 90"/>
                <a:gd name="T5" fmla="*/ 2147483646 h 16"/>
                <a:gd name="T6" fmla="*/ 2147483646 w 90"/>
                <a:gd name="T7" fmla="*/ 0 h 16"/>
                <a:gd name="T8" fmla="*/ 0 w 90"/>
                <a:gd name="T9" fmla="*/ 2147483646 h 16"/>
                <a:gd name="T10" fmla="*/ 2147483646 w 90"/>
                <a:gd name="T11" fmla="*/ 2147483646 h 16"/>
                <a:gd name="T12" fmla="*/ 2147483646 w 90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0" h="16">
                  <a:moveTo>
                    <a:pt x="90" y="16"/>
                  </a:moveTo>
                  <a:cubicBezTo>
                    <a:pt x="90" y="16"/>
                    <a:pt x="90" y="16"/>
                    <a:pt x="90" y="16"/>
                  </a:cubicBezTo>
                  <a:cubicBezTo>
                    <a:pt x="90" y="16"/>
                    <a:pt x="90" y="16"/>
                    <a:pt x="90" y="16"/>
                  </a:cubicBezTo>
                  <a:moveTo>
                    <a:pt x="4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1" y="15"/>
                    <a:pt x="2" y="13"/>
                    <a:pt x="2" y="10"/>
                  </a:cubicBezTo>
                  <a:cubicBezTo>
                    <a:pt x="3" y="6"/>
                    <a:pt x="3" y="3"/>
                    <a:pt x="4" y="0"/>
                  </a:cubicBezTo>
                </a:path>
              </a:pathLst>
            </a:custGeom>
            <a:solidFill>
              <a:srgbClr val="E591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Freeform 47"/>
            <p:cNvSpPr>
              <a:spLocks/>
            </p:cNvSpPr>
            <p:nvPr/>
          </p:nvSpPr>
          <p:spPr bwMode="auto">
            <a:xfrm>
              <a:off x="6589713" y="4532313"/>
              <a:ext cx="420687" cy="74612"/>
            </a:xfrm>
            <a:custGeom>
              <a:avLst/>
              <a:gdLst>
                <a:gd name="T0" fmla="*/ 2147483646 w 90"/>
                <a:gd name="T1" fmla="*/ 0 h 16"/>
                <a:gd name="T2" fmla="*/ 2147483646 w 90"/>
                <a:gd name="T3" fmla="*/ 0 h 16"/>
                <a:gd name="T4" fmla="*/ 2147483646 w 90"/>
                <a:gd name="T5" fmla="*/ 2147483646 h 16"/>
                <a:gd name="T6" fmla="*/ 0 w 90"/>
                <a:gd name="T7" fmla="*/ 2147483646 h 16"/>
                <a:gd name="T8" fmla="*/ 2147483646 w 90"/>
                <a:gd name="T9" fmla="*/ 2147483646 h 16"/>
                <a:gd name="T10" fmla="*/ 2147483646 w 90"/>
                <a:gd name="T11" fmla="*/ 2147483646 h 16"/>
                <a:gd name="T12" fmla="*/ 2147483646 w 90"/>
                <a:gd name="T13" fmla="*/ 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0" h="16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3"/>
                    <a:pt x="3" y="6"/>
                    <a:pt x="2" y="10"/>
                  </a:cubicBezTo>
                  <a:cubicBezTo>
                    <a:pt x="2" y="13"/>
                    <a:pt x="1" y="15"/>
                    <a:pt x="0" y="1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D736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4" name="TextBox 93"/>
          <p:cNvSpPr txBox="1">
            <a:spLocks noChangeArrowheads="1"/>
          </p:cNvSpPr>
          <p:nvPr/>
        </p:nvSpPr>
        <p:spPr bwMode="auto">
          <a:xfrm>
            <a:off x="1021941" y="2751402"/>
            <a:ext cx="121280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TextBox 93"/>
          <p:cNvSpPr txBox="1">
            <a:spLocks noChangeArrowheads="1"/>
          </p:cNvSpPr>
          <p:nvPr/>
        </p:nvSpPr>
        <p:spPr bwMode="auto">
          <a:xfrm>
            <a:off x="473806" y="1635328"/>
            <a:ext cx="257031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rual Accounting System for the Federal Government of Malaysia </a:t>
            </a:r>
          </a:p>
        </p:txBody>
      </p:sp>
      <p:sp>
        <p:nvSpPr>
          <p:cNvPr id="115" name="Rectangle 48"/>
          <p:cNvSpPr>
            <a:spLocks noChangeArrowheads="1"/>
          </p:cNvSpPr>
          <p:nvPr/>
        </p:nvSpPr>
        <p:spPr bwMode="auto">
          <a:xfrm>
            <a:off x="3678762" y="2077174"/>
            <a:ext cx="1795363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36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FMAS</a:t>
            </a:r>
            <a:endParaRPr lang="en-US" alt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Rectangle 11"/>
          <p:cNvSpPr>
            <a:spLocks noChangeArrowheads="1"/>
          </p:cNvSpPr>
          <p:nvPr/>
        </p:nvSpPr>
        <p:spPr bwMode="auto">
          <a:xfrm>
            <a:off x="221557" y="4621459"/>
            <a:ext cx="865647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0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altLang="en-US" sz="2000" b="1" dirty="0" smtClean="0">
                <a:solidFill>
                  <a:srgbClr val="0A98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egrated </a:t>
            </a:r>
            <a:r>
              <a:rPr lang="en-US" altLang="en-US" sz="20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en-US" altLang="en-US" sz="2000" b="1" dirty="0" smtClean="0">
                <a:solidFill>
                  <a:srgbClr val="0A98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nment </a:t>
            </a:r>
            <a:r>
              <a:rPr lang="en-US" altLang="en-US" sz="20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en-US" altLang="en-US" sz="2000" b="1" dirty="0" smtClean="0">
                <a:solidFill>
                  <a:srgbClr val="0A98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ancial </a:t>
            </a:r>
            <a:r>
              <a:rPr lang="en-US" altLang="en-US" sz="20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altLang="en-US" sz="2000" b="1" dirty="0" smtClean="0">
                <a:solidFill>
                  <a:srgbClr val="0A98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d </a:t>
            </a:r>
            <a:r>
              <a:rPr lang="en-US" altLang="en-US" sz="20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altLang="en-US" sz="2000" b="1" dirty="0" smtClean="0">
                <a:solidFill>
                  <a:srgbClr val="0A98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gement </a:t>
            </a:r>
            <a:r>
              <a:rPr lang="en-US" altLang="en-US" sz="20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altLang="en-US" sz="2000" b="1" dirty="0" smtClean="0">
                <a:solidFill>
                  <a:srgbClr val="0A98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ounting </a:t>
            </a:r>
            <a:r>
              <a:rPr lang="en-US" altLang="en-US" sz="2000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altLang="en-US" sz="2000" b="1" dirty="0" smtClean="0">
                <a:solidFill>
                  <a:srgbClr val="0A98C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stem</a:t>
            </a:r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970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 bwMode="auto">
          <a:xfrm>
            <a:off x="4955600" y="4426074"/>
            <a:ext cx="1659731" cy="40395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MY" sz="675" i="1" kern="0" dirty="0">
                <a:solidFill>
                  <a:prstClr val="black"/>
                </a:solidFill>
                <a:latin typeface="Cambria" panose="02040503050406030204" pitchFamily="18" charset="0"/>
              </a:rPr>
              <a:t>* RICEFW – Reports, Interfaces, Conversions, Extensions, Forms, Workflows </a:t>
            </a:r>
          </a:p>
        </p:txBody>
      </p:sp>
      <p:cxnSp>
        <p:nvCxnSpPr>
          <p:cNvPr id="20488" name="Straight Connector 7"/>
          <p:cNvCxnSpPr>
            <a:cxnSpLocks noChangeShapeType="1"/>
          </p:cNvCxnSpPr>
          <p:nvPr/>
        </p:nvCxnSpPr>
        <p:spPr bwMode="auto">
          <a:xfrm flipH="1">
            <a:off x="4915814" y="1363687"/>
            <a:ext cx="27921" cy="3575027"/>
          </a:xfrm>
          <a:prstGeom prst="line">
            <a:avLst/>
          </a:prstGeom>
          <a:noFill/>
          <a:ln w="34925" algn="ctr">
            <a:solidFill>
              <a:srgbClr val="4A7EB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" name="Group 1"/>
          <p:cNvGrpSpPr/>
          <p:nvPr/>
        </p:nvGrpSpPr>
        <p:grpSpPr>
          <a:xfrm>
            <a:off x="1547689" y="1581257"/>
            <a:ext cx="1425348" cy="553998"/>
            <a:chOff x="1152252" y="1535537"/>
            <a:chExt cx="1425348" cy="553998"/>
          </a:xfrm>
        </p:grpSpPr>
        <p:cxnSp>
          <p:nvCxnSpPr>
            <p:cNvPr id="10" name="Straight Connector 9"/>
            <p:cNvCxnSpPr/>
            <p:nvPr/>
          </p:nvCxnSpPr>
          <p:spPr bwMode="auto">
            <a:xfrm>
              <a:off x="1469652" y="1960591"/>
              <a:ext cx="1026318" cy="0"/>
            </a:xfrm>
            <a:prstGeom prst="line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15" name="TextBox 14"/>
            <p:cNvSpPr txBox="1"/>
            <p:nvPr/>
          </p:nvSpPr>
          <p:spPr bwMode="auto">
            <a:xfrm>
              <a:off x="1430362" y="1608166"/>
              <a:ext cx="1147238" cy="34624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LEGACY SYSTEMS</a:t>
              </a:r>
            </a:p>
            <a:p>
              <a:pPr algn="ctr">
                <a:defRPr/>
              </a:pPr>
              <a:r>
                <a:rPr lang="en-US" sz="750" kern="0" dirty="0">
                  <a:solidFill>
                    <a:srgbClr val="595959"/>
                  </a:solidFill>
                  <a:latin typeface="Century Gothic"/>
                </a:rPr>
                <a:t>REPLACED</a:t>
              </a:r>
            </a:p>
          </p:txBody>
        </p:sp>
        <p:sp>
          <p:nvSpPr>
            <p:cNvPr id="23" name="TextBox 22"/>
            <p:cNvSpPr txBox="1"/>
            <p:nvPr/>
          </p:nvSpPr>
          <p:spPr bwMode="auto">
            <a:xfrm>
              <a:off x="1152252" y="1535537"/>
              <a:ext cx="397866" cy="55399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000" kern="0" dirty="0">
                  <a:solidFill>
                    <a:srgbClr val="1F497D"/>
                  </a:solidFill>
                  <a:latin typeface="Century Gothic"/>
                </a:rPr>
                <a:t>7</a:t>
              </a:r>
              <a:endParaRPr lang="en-US" sz="2100" kern="0" dirty="0">
                <a:solidFill>
                  <a:srgbClr val="1F497D"/>
                </a:solidFill>
                <a:latin typeface="Century Gothic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34692" y="2094308"/>
            <a:ext cx="1575928" cy="553998"/>
            <a:chOff x="2983584" y="1911810"/>
            <a:chExt cx="1575928" cy="553998"/>
          </a:xfrm>
        </p:grpSpPr>
        <p:cxnSp>
          <p:nvCxnSpPr>
            <p:cNvPr id="11" name="Straight Connector 10"/>
            <p:cNvCxnSpPr/>
            <p:nvPr/>
          </p:nvCxnSpPr>
          <p:spPr bwMode="auto">
            <a:xfrm>
              <a:off x="3533194" y="2326147"/>
              <a:ext cx="1026318" cy="0"/>
            </a:xfrm>
            <a:prstGeom prst="line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16" name="TextBox 15"/>
            <p:cNvSpPr txBox="1"/>
            <p:nvPr/>
          </p:nvSpPr>
          <p:spPr bwMode="auto">
            <a:xfrm>
              <a:off x="3542534" y="1986819"/>
              <a:ext cx="949298" cy="34624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SAP MODULES</a:t>
              </a:r>
            </a:p>
            <a:p>
              <a:pPr algn="ctr">
                <a:defRPr/>
              </a:pPr>
              <a:r>
                <a:rPr lang="en-US" sz="750" kern="0" dirty="0">
                  <a:solidFill>
                    <a:srgbClr val="595959"/>
                  </a:solidFill>
                  <a:latin typeface="Century Gothic"/>
                </a:rPr>
                <a:t>IMPLEMENTED</a:t>
              </a:r>
            </a:p>
          </p:txBody>
        </p:sp>
        <p:sp>
          <p:nvSpPr>
            <p:cNvPr id="24" name="TextBox 23"/>
            <p:cNvSpPr txBox="1"/>
            <p:nvPr/>
          </p:nvSpPr>
          <p:spPr bwMode="auto">
            <a:xfrm>
              <a:off x="2983584" y="1911810"/>
              <a:ext cx="611065" cy="55399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000" kern="0" dirty="0">
                  <a:solidFill>
                    <a:srgbClr val="1F497D"/>
                  </a:solidFill>
                  <a:latin typeface="Century Gothic"/>
                </a:rPr>
                <a:t>14</a:t>
              </a:r>
              <a:endParaRPr lang="en-US" sz="2100" kern="0" dirty="0">
                <a:solidFill>
                  <a:srgbClr val="1F497D"/>
                </a:solidFill>
                <a:latin typeface="Century Gothic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2529109" y="2076365"/>
            <a:ext cx="1502319" cy="553998"/>
            <a:chOff x="3073484" y="2296361"/>
            <a:chExt cx="1502319" cy="553998"/>
          </a:xfrm>
        </p:grpSpPr>
        <p:sp>
          <p:nvSpPr>
            <p:cNvPr id="17" name="TextBox 16"/>
            <p:cNvSpPr txBox="1"/>
            <p:nvPr/>
          </p:nvSpPr>
          <p:spPr bwMode="auto">
            <a:xfrm>
              <a:off x="3496661" y="2357104"/>
              <a:ext cx="1079142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SERVERS</a:t>
              </a:r>
            </a:p>
            <a:p>
              <a:pPr algn="ctr">
                <a:defRPr/>
              </a:pPr>
              <a:r>
                <a:rPr lang="en-US" sz="750" kern="0" dirty="0">
                  <a:solidFill>
                    <a:srgbClr val="595959"/>
                  </a:solidFill>
                  <a:latin typeface="Century Gothic"/>
                </a:rPr>
                <a:t>CONSOLIDATED</a:t>
              </a:r>
            </a:p>
            <a:p>
              <a:pPr algn="ctr">
                <a:defRPr/>
              </a:pPr>
              <a:r>
                <a:rPr lang="en-US" sz="750" kern="0" dirty="0">
                  <a:solidFill>
                    <a:srgbClr val="595959"/>
                  </a:solidFill>
                  <a:latin typeface="Century Gothic"/>
                </a:rPr>
                <a:t>Into a single system</a:t>
              </a:r>
            </a:p>
          </p:txBody>
        </p:sp>
        <p:cxnSp>
          <p:nvCxnSpPr>
            <p:cNvPr id="12" name="Straight Connector 11"/>
            <p:cNvCxnSpPr/>
            <p:nvPr/>
          </p:nvCxnSpPr>
          <p:spPr bwMode="auto">
            <a:xfrm>
              <a:off x="3539147" y="2783347"/>
              <a:ext cx="1026318" cy="0"/>
            </a:xfrm>
            <a:prstGeom prst="line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25" name="TextBox 24"/>
            <p:cNvSpPr txBox="1"/>
            <p:nvPr/>
          </p:nvSpPr>
          <p:spPr bwMode="auto">
            <a:xfrm>
              <a:off x="3073484" y="2296361"/>
              <a:ext cx="611065" cy="55399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000" kern="0" dirty="0">
                  <a:solidFill>
                    <a:srgbClr val="1F497D"/>
                  </a:solidFill>
                  <a:latin typeface="Century Gothic"/>
                </a:rPr>
                <a:t>37</a:t>
              </a:r>
              <a:endParaRPr lang="en-US" sz="2100" kern="0" dirty="0">
                <a:solidFill>
                  <a:srgbClr val="1F497D"/>
                </a:solidFill>
                <a:latin typeface="Century Gothic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30513" y="2652904"/>
            <a:ext cx="1954626" cy="553998"/>
            <a:chOff x="2610839" y="2725564"/>
            <a:chExt cx="1954626" cy="553998"/>
          </a:xfrm>
        </p:grpSpPr>
        <p:cxnSp>
          <p:nvCxnSpPr>
            <p:cNvPr id="13" name="Straight Connector 12"/>
            <p:cNvCxnSpPr/>
            <p:nvPr/>
          </p:nvCxnSpPr>
          <p:spPr bwMode="auto">
            <a:xfrm>
              <a:off x="3539147" y="3138154"/>
              <a:ext cx="1026318" cy="0"/>
            </a:xfrm>
            <a:prstGeom prst="line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18" name="TextBox 17"/>
            <p:cNvSpPr txBox="1"/>
            <p:nvPr/>
          </p:nvSpPr>
          <p:spPr bwMode="auto">
            <a:xfrm>
              <a:off x="3623300" y="2819066"/>
              <a:ext cx="825867" cy="34624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INTERFACES</a:t>
              </a:r>
            </a:p>
            <a:p>
              <a:pPr algn="ctr">
                <a:defRPr/>
              </a:pPr>
              <a:r>
                <a:rPr lang="en-US" sz="750" kern="0" dirty="0">
                  <a:solidFill>
                    <a:srgbClr val="595959"/>
                  </a:solidFill>
                  <a:latin typeface="Century Gothic"/>
                </a:rPr>
                <a:t>DEVELOPED</a:t>
              </a:r>
            </a:p>
          </p:txBody>
        </p:sp>
        <p:sp>
          <p:nvSpPr>
            <p:cNvPr id="26" name="TextBox 25"/>
            <p:cNvSpPr txBox="1"/>
            <p:nvPr/>
          </p:nvSpPr>
          <p:spPr bwMode="auto">
            <a:xfrm>
              <a:off x="2610839" y="2725564"/>
              <a:ext cx="1056700" cy="55399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000" kern="0" dirty="0">
                  <a:solidFill>
                    <a:srgbClr val="1F497D"/>
                  </a:solidFill>
                  <a:latin typeface="Century Gothic"/>
                </a:rPr>
                <a:t>150+</a:t>
              </a:r>
              <a:endParaRPr lang="en-US" sz="2100" kern="0" dirty="0">
                <a:solidFill>
                  <a:srgbClr val="1F497D"/>
                </a:solidFill>
                <a:latin typeface="Century Gothic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330839" y="2699745"/>
            <a:ext cx="2212434" cy="553998"/>
            <a:chOff x="2362556" y="3170300"/>
            <a:chExt cx="2212434" cy="553998"/>
          </a:xfrm>
        </p:grpSpPr>
        <p:cxnSp>
          <p:nvCxnSpPr>
            <p:cNvPr id="14" name="Straight Connector 13"/>
            <p:cNvCxnSpPr/>
            <p:nvPr/>
          </p:nvCxnSpPr>
          <p:spPr bwMode="auto">
            <a:xfrm>
              <a:off x="3548672" y="3531059"/>
              <a:ext cx="1026318" cy="0"/>
            </a:xfrm>
            <a:prstGeom prst="line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19" name="TextBox 18"/>
            <p:cNvSpPr txBox="1"/>
            <p:nvPr/>
          </p:nvSpPr>
          <p:spPr bwMode="auto">
            <a:xfrm>
              <a:off x="3864113" y="3338179"/>
              <a:ext cx="393056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RCs</a:t>
              </a:r>
              <a:endParaRPr lang="en-US" sz="750" b="1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27" name="TextBox 26"/>
            <p:cNvSpPr txBox="1"/>
            <p:nvPr/>
          </p:nvSpPr>
          <p:spPr bwMode="auto">
            <a:xfrm>
              <a:off x="2362556" y="3170300"/>
              <a:ext cx="1250663" cy="55399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000" kern="0" dirty="0">
                  <a:solidFill>
                    <a:srgbClr val="1F497D"/>
                  </a:solidFill>
                  <a:latin typeface="Century Gothic"/>
                </a:rPr>
                <a:t>19623</a:t>
              </a:r>
              <a:endParaRPr lang="en-US" sz="2100" kern="0" dirty="0">
                <a:solidFill>
                  <a:srgbClr val="1F497D"/>
                </a:solidFill>
                <a:latin typeface="Century Gothic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290138" y="3894128"/>
            <a:ext cx="2186499" cy="998102"/>
            <a:chOff x="1290138" y="3825548"/>
            <a:chExt cx="2186499" cy="998102"/>
          </a:xfrm>
        </p:grpSpPr>
        <p:sp>
          <p:nvSpPr>
            <p:cNvPr id="20" name="TextBox 19"/>
            <p:cNvSpPr txBox="1"/>
            <p:nvPr/>
          </p:nvSpPr>
          <p:spPr bwMode="auto">
            <a:xfrm>
              <a:off x="2569208" y="4002952"/>
              <a:ext cx="688009" cy="34624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TRAINERS</a:t>
              </a:r>
            </a:p>
            <a:p>
              <a:pPr algn="ctr">
                <a:defRPr/>
              </a:pPr>
              <a:r>
                <a:rPr lang="en-US" sz="750" b="1" kern="0" dirty="0">
                  <a:solidFill>
                    <a:srgbClr val="1F497D"/>
                  </a:solidFill>
                  <a:latin typeface="Century Gothic"/>
                </a:rPr>
                <a:t>FOR TTT</a:t>
              </a:r>
            </a:p>
          </p:txBody>
        </p:sp>
        <p:sp>
          <p:nvSpPr>
            <p:cNvPr id="21" name="TextBox 20"/>
            <p:cNvSpPr txBox="1"/>
            <p:nvPr/>
          </p:nvSpPr>
          <p:spPr bwMode="auto">
            <a:xfrm>
              <a:off x="2512912" y="4435148"/>
              <a:ext cx="963725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 err="1" smtClean="0">
                  <a:solidFill>
                    <a:srgbClr val="1F497D"/>
                  </a:solidFill>
                  <a:latin typeface="Century Gothic"/>
                </a:rPr>
                <a:t>iGFMAS</a:t>
              </a:r>
              <a:r>
                <a:rPr lang="en-US" sz="900" b="1" kern="0" dirty="0" smtClean="0">
                  <a:solidFill>
                    <a:srgbClr val="1F497D"/>
                  </a:solidFill>
                  <a:latin typeface="Century Gothic"/>
                </a:rPr>
                <a:t> USERS</a:t>
              </a:r>
              <a:endParaRPr lang="en-US" sz="750" b="1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28" name="TextBox 27"/>
            <p:cNvSpPr txBox="1"/>
            <p:nvPr/>
          </p:nvSpPr>
          <p:spPr bwMode="auto">
            <a:xfrm>
              <a:off x="1487224" y="3932705"/>
              <a:ext cx="1037465" cy="55399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000" kern="0" dirty="0">
                  <a:solidFill>
                    <a:srgbClr val="1F497D"/>
                  </a:solidFill>
                  <a:latin typeface="Century Gothic"/>
                </a:rPr>
                <a:t>1000</a:t>
              </a:r>
              <a:endParaRPr lang="en-US" sz="2100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29" name="TextBox 28"/>
            <p:cNvSpPr txBox="1"/>
            <p:nvPr/>
          </p:nvSpPr>
          <p:spPr bwMode="auto">
            <a:xfrm>
              <a:off x="1290138" y="4269652"/>
              <a:ext cx="1250663" cy="55399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000" kern="0" dirty="0">
                  <a:solidFill>
                    <a:srgbClr val="1F497D"/>
                  </a:solidFill>
                  <a:latin typeface="Century Gothic"/>
                </a:rPr>
                <a:t>73000</a:t>
              </a:r>
              <a:endParaRPr lang="en-US" sz="2100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39" name="TextBox 38"/>
            <p:cNvSpPr txBox="1"/>
            <p:nvPr/>
          </p:nvSpPr>
          <p:spPr bwMode="auto">
            <a:xfrm>
              <a:off x="1462220" y="3825548"/>
              <a:ext cx="1079142" cy="19620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675" b="1" kern="0" dirty="0">
                  <a:solidFill>
                    <a:srgbClr val="595959"/>
                  </a:solidFill>
                  <a:latin typeface="Century Gothic"/>
                </a:rPr>
                <a:t>TRAINING TO HANDLE</a:t>
              </a:r>
              <a:endParaRPr lang="en-US" sz="450" b="1" kern="0" dirty="0">
                <a:solidFill>
                  <a:srgbClr val="595959"/>
                </a:solidFill>
                <a:latin typeface="Century Gothic"/>
              </a:endParaRPr>
            </a:p>
          </p:txBody>
        </p:sp>
      </p:grpSp>
      <p:sp>
        <p:nvSpPr>
          <p:cNvPr id="40" name="TextBox 39"/>
          <p:cNvSpPr txBox="1"/>
          <p:nvPr/>
        </p:nvSpPr>
        <p:spPr bwMode="auto">
          <a:xfrm>
            <a:off x="1308444" y="1306429"/>
            <a:ext cx="2169184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 OF </a:t>
            </a:r>
            <a:r>
              <a:rPr lang="en-US" sz="1600" b="1" kern="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FMAS</a:t>
            </a:r>
            <a:r>
              <a:rPr lang="en-US" sz="16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1" name="TextBox 40"/>
          <p:cNvSpPr txBox="1"/>
          <p:nvPr/>
        </p:nvSpPr>
        <p:spPr bwMode="auto">
          <a:xfrm>
            <a:off x="4929774" y="1334998"/>
            <a:ext cx="2929008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OJECT TO MANAGE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7556118" y="1223124"/>
            <a:ext cx="1346844" cy="619705"/>
            <a:chOff x="6288771" y="1196244"/>
            <a:chExt cx="1346844" cy="619705"/>
          </a:xfrm>
        </p:grpSpPr>
        <p:sp>
          <p:nvSpPr>
            <p:cNvPr id="31" name="TextBox 30"/>
            <p:cNvSpPr txBox="1"/>
            <p:nvPr/>
          </p:nvSpPr>
          <p:spPr bwMode="auto">
            <a:xfrm>
              <a:off x="6538448" y="1196244"/>
              <a:ext cx="886782" cy="6001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300" kern="0" dirty="0">
                  <a:solidFill>
                    <a:srgbClr val="1F497D"/>
                  </a:solidFill>
                  <a:latin typeface="Century Gothic"/>
                </a:rPr>
                <a:t>300</a:t>
              </a:r>
              <a:endParaRPr lang="en-US" sz="2400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42" name="TextBox 41"/>
            <p:cNvSpPr txBox="1"/>
            <p:nvPr/>
          </p:nvSpPr>
          <p:spPr bwMode="auto">
            <a:xfrm>
              <a:off x="6288771" y="1608200"/>
              <a:ext cx="1346844" cy="20774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750" kern="0" dirty="0">
                  <a:solidFill>
                    <a:srgbClr val="1F497D"/>
                  </a:solidFill>
                  <a:latin typeface="Century Gothic"/>
                </a:rPr>
                <a:t>PROJECT TEAM MEMBERS</a:t>
              </a:r>
              <a:endParaRPr lang="en-US" sz="525" kern="0" dirty="0">
                <a:solidFill>
                  <a:srgbClr val="1F497D"/>
                </a:solidFill>
                <a:latin typeface="Century Gothic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6125567" y="2783996"/>
            <a:ext cx="2346769" cy="600164"/>
            <a:chOff x="5235229" y="2709529"/>
            <a:chExt cx="2346769" cy="600164"/>
          </a:xfrm>
        </p:grpSpPr>
        <p:sp>
          <p:nvSpPr>
            <p:cNvPr id="34" name="TextBox 33"/>
            <p:cNvSpPr txBox="1"/>
            <p:nvPr/>
          </p:nvSpPr>
          <p:spPr bwMode="auto">
            <a:xfrm>
              <a:off x="5235229" y="2709529"/>
              <a:ext cx="1354859" cy="6001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300" kern="0" dirty="0">
                  <a:solidFill>
                    <a:srgbClr val="595959"/>
                  </a:solidFill>
                  <a:latin typeface="Century Gothic"/>
                </a:rPr>
                <a:t>30000</a:t>
              </a:r>
              <a:endParaRPr lang="en-US" sz="2400" kern="0" dirty="0">
                <a:solidFill>
                  <a:srgbClr val="595959"/>
                </a:solidFill>
                <a:latin typeface="Century Gothic"/>
              </a:endParaRPr>
            </a:p>
          </p:txBody>
        </p:sp>
        <p:sp>
          <p:nvSpPr>
            <p:cNvPr id="45" name="TextBox 44"/>
            <p:cNvSpPr txBox="1"/>
            <p:nvPr/>
          </p:nvSpPr>
          <p:spPr bwMode="auto">
            <a:xfrm>
              <a:off x="6448354" y="2883360"/>
              <a:ext cx="1133644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595959"/>
                  </a:solidFill>
                  <a:latin typeface="Century Gothic"/>
                </a:rPr>
                <a:t>EXCEL TEMPLATES</a:t>
              </a:r>
              <a:endParaRPr lang="en-US" sz="750" b="1" kern="0" dirty="0">
                <a:solidFill>
                  <a:srgbClr val="595959"/>
                </a:solidFill>
                <a:latin typeface="Century Gothic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5138422" y="3118616"/>
            <a:ext cx="2400192" cy="600164"/>
            <a:chOff x="5231085" y="3052430"/>
            <a:chExt cx="2400192" cy="600164"/>
          </a:xfrm>
        </p:grpSpPr>
        <p:sp>
          <p:nvSpPr>
            <p:cNvPr id="35" name="TextBox 34"/>
            <p:cNvSpPr txBox="1"/>
            <p:nvPr/>
          </p:nvSpPr>
          <p:spPr bwMode="auto">
            <a:xfrm>
              <a:off x="5231085" y="3052430"/>
              <a:ext cx="1350050" cy="6001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300" kern="0" dirty="0">
                  <a:solidFill>
                    <a:srgbClr val="1F497D"/>
                  </a:solidFill>
                  <a:latin typeface="Century Gothic"/>
                </a:rPr>
                <a:t>1.3 </a:t>
              </a:r>
              <a:r>
                <a:rPr lang="en-US" sz="2700" kern="0" dirty="0">
                  <a:solidFill>
                    <a:srgbClr val="1F497D"/>
                  </a:solidFill>
                  <a:latin typeface="Century Gothic"/>
                </a:rPr>
                <a:t>mil</a:t>
              </a:r>
              <a:endParaRPr lang="en-US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46" name="TextBox 45"/>
            <p:cNvSpPr txBox="1"/>
            <p:nvPr/>
          </p:nvSpPr>
          <p:spPr bwMode="auto">
            <a:xfrm>
              <a:off x="6443131" y="3222688"/>
              <a:ext cx="1188146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VALIDATED ASSETS</a:t>
              </a:r>
              <a:endParaRPr lang="en-US" sz="750" b="1" kern="0" dirty="0">
                <a:solidFill>
                  <a:srgbClr val="1F497D"/>
                </a:solidFill>
                <a:latin typeface="Century Gothic"/>
              </a:endParaRP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6125567" y="3461737"/>
            <a:ext cx="2419953" cy="600164"/>
            <a:chOff x="5233124" y="3386994"/>
            <a:chExt cx="2419953" cy="600164"/>
          </a:xfrm>
        </p:grpSpPr>
        <p:sp>
          <p:nvSpPr>
            <p:cNvPr id="36" name="TextBox 35"/>
            <p:cNvSpPr txBox="1"/>
            <p:nvPr/>
          </p:nvSpPr>
          <p:spPr bwMode="auto">
            <a:xfrm>
              <a:off x="5233124" y="3386994"/>
              <a:ext cx="1338829" cy="6001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300" kern="0" dirty="0">
                  <a:solidFill>
                    <a:srgbClr val="595959"/>
                  </a:solidFill>
                  <a:latin typeface="Century Gothic"/>
                </a:rPr>
                <a:t>1.4</a:t>
              </a:r>
              <a:r>
                <a:rPr lang="en-US" sz="3000" kern="0" dirty="0">
                  <a:solidFill>
                    <a:srgbClr val="595959"/>
                  </a:solidFill>
                  <a:latin typeface="Century Gothic"/>
                </a:rPr>
                <a:t> </a:t>
              </a:r>
              <a:r>
                <a:rPr lang="en-US" sz="2700" kern="0" dirty="0">
                  <a:solidFill>
                    <a:srgbClr val="595959"/>
                  </a:solidFill>
                  <a:latin typeface="Century Gothic"/>
                </a:rPr>
                <a:t>mil</a:t>
              </a:r>
              <a:endParaRPr lang="en-US" kern="0" dirty="0">
                <a:solidFill>
                  <a:srgbClr val="595959"/>
                </a:solidFill>
                <a:latin typeface="Century Gothic"/>
              </a:endParaRPr>
            </a:p>
          </p:txBody>
        </p:sp>
        <p:sp>
          <p:nvSpPr>
            <p:cNvPr id="47" name="TextBox 46"/>
            <p:cNvSpPr txBox="1"/>
            <p:nvPr/>
          </p:nvSpPr>
          <p:spPr bwMode="auto">
            <a:xfrm>
              <a:off x="6429664" y="3569159"/>
              <a:ext cx="1223413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595959"/>
                  </a:solidFill>
                  <a:latin typeface="Century Gothic"/>
                </a:rPr>
                <a:t>PAYROLL RECORDS</a:t>
              </a:r>
              <a:endParaRPr lang="en-US" sz="750" b="1" kern="0" dirty="0">
                <a:solidFill>
                  <a:srgbClr val="595959"/>
                </a:solidFill>
                <a:latin typeface="Century Gothic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5176165" y="3807985"/>
            <a:ext cx="2511132" cy="553998"/>
            <a:chOff x="5268828" y="3741799"/>
            <a:chExt cx="2511132" cy="553998"/>
          </a:xfrm>
        </p:grpSpPr>
        <p:sp>
          <p:nvSpPr>
            <p:cNvPr id="37" name="TextBox 36"/>
            <p:cNvSpPr txBox="1"/>
            <p:nvPr/>
          </p:nvSpPr>
          <p:spPr bwMode="auto">
            <a:xfrm>
              <a:off x="5268828" y="3741799"/>
              <a:ext cx="1218603" cy="55399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000" kern="0" dirty="0">
                  <a:solidFill>
                    <a:srgbClr val="1F497D"/>
                  </a:solidFill>
                  <a:latin typeface="Century Gothic"/>
                </a:rPr>
                <a:t>1.25</a:t>
              </a:r>
              <a:r>
                <a:rPr lang="en-US" sz="1500" kern="0" dirty="0">
                  <a:solidFill>
                    <a:srgbClr val="1F497D"/>
                  </a:solidFill>
                  <a:latin typeface="Century Gothic"/>
                </a:rPr>
                <a:t> </a:t>
              </a:r>
              <a:r>
                <a:rPr lang="en-US" sz="2700" kern="0" dirty="0">
                  <a:solidFill>
                    <a:srgbClr val="1F497D"/>
                  </a:solidFill>
                  <a:latin typeface="Century Gothic"/>
                </a:rPr>
                <a:t>b</a:t>
              </a:r>
              <a:endParaRPr lang="en-US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48" name="TextBox 47"/>
            <p:cNvSpPr txBox="1"/>
            <p:nvPr/>
          </p:nvSpPr>
          <p:spPr bwMode="auto">
            <a:xfrm>
              <a:off x="6375408" y="3898962"/>
              <a:ext cx="1404552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RECORDS TO MIGRATE</a:t>
              </a:r>
              <a:endParaRPr lang="en-US" sz="750" b="1" kern="0" dirty="0">
                <a:solidFill>
                  <a:srgbClr val="1F497D"/>
                </a:solidFill>
                <a:latin typeface="Century Gothic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6133589" y="4281367"/>
            <a:ext cx="2515872" cy="600164"/>
            <a:chOff x="5302837" y="4135897"/>
            <a:chExt cx="2515872" cy="600164"/>
          </a:xfrm>
        </p:grpSpPr>
        <p:sp>
          <p:nvSpPr>
            <p:cNvPr id="38" name="TextBox 37"/>
            <p:cNvSpPr txBox="1"/>
            <p:nvPr/>
          </p:nvSpPr>
          <p:spPr bwMode="auto">
            <a:xfrm>
              <a:off x="5302837" y="4135897"/>
              <a:ext cx="1120821" cy="6001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300" kern="0" dirty="0">
                  <a:solidFill>
                    <a:srgbClr val="1F497D"/>
                  </a:solidFill>
                  <a:latin typeface="Century Gothic"/>
                </a:rPr>
                <a:t>1500</a:t>
              </a:r>
              <a:endParaRPr lang="en-US" sz="2400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49" name="TextBox 48"/>
            <p:cNvSpPr txBox="1"/>
            <p:nvPr/>
          </p:nvSpPr>
          <p:spPr bwMode="auto">
            <a:xfrm>
              <a:off x="6321183" y="4237100"/>
              <a:ext cx="1497526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RICEFW FOR CUSTOMIZE</a:t>
              </a:r>
            </a:p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INTELLIGENT PORTAL</a:t>
              </a:r>
              <a:endParaRPr lang="en-US" sz="750" b="1" kern="0" dirty="0">
                <a:solidFill>
                  <a:srgbClr val="1F497D"/>
                </a:solidFill>
                <a:latin typeface="Century Gothic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5154215" y="2423291"/>
            <a:ext cx="2257700" cy="600164"/>
            <a:chOff x="5246878" y="2357105"/>
            <a:chExt cx="2257700" cy="600164"/>
          </a:xfrm>
        </p:grpSpPr>
        <p:sp>
          <p:nvSpPr>
            <p:cNvPr id="33" name="TextBox 32"/>
            <p:cNvSpPr txBox="1"/>
            <p:nvPr/>
          </p:nvSpPr>
          <p:spPr bwMode="auto">
            <a:xfrm>
              <a:off x="5246878" y="2357105"/>
              <a:ext cx="1120821" cy="6001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300" kern="0" dirty="0">
                  <a:solidFill>
                    <a:srgbClr val="1F497D"/>
                  </a:solidFill>
                  <a:latin typeface="Century Gothic"/>
                </a:rPr>
                <a:t>1000</a:t>
              </a:r>
              <a:endParaRPr lang="en-US" sz="2400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44" name="TextBox 43"/>
            <p:cNvSpPr txBox="1"/>
            <p:nvPr/>
          </p:nvSpPr>
          <p:spPr bwMode="auto">
            <a:xfrm>
              <a:off x="6459099" y="2503550"/>
              <a:ext cx="1045479" cy="2308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DATA MAPPING</a:t>
              </a:r>
              <a:endParaRPr lang="en-US" sz="750" b="1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50" name="TextBox 49"/>
            <p:cNvSpPr txBox="1"/>
            <p:nvPr/>
          </p:nvSpPr>
          <p:spPr bwMode="auto">
            <a:xfrm>
              <a:off x="6485343" y="2660713"/>
              <a:ext cx="994183" cy="19620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675" kern="0" dirty="0">
                  <a:solidFill>
                    <a:srgbClr val="595959"/>
                  </a:solidFill>
                  <a:latin typeface="Century Gothic"/>
                </a:rPr>
                <a:t>CASH &lt;&gt; ACCRUAL</a:t>
              </a:r>
              <a:endParaRPr lang="en-US" sz="450" kern="0" dirty="0">
                <a:solidFill>
                  <a:srgbClr val="595959"/>
                </a:solidFill>
                <a:latin typeface="Century Gothic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5104072" y="1722726"/>
            <a:ext cx="2544246" cy="600164"/>
            <a:chOff x="5211975" y="1702260"/>
            <a:chExt cx="2544246" cy="600164"/>
          </a:xfrm>
        </p:grpSpPr>
        <p:sp>
          <p:nvSpPr>
            <p:cNvPr id="32" name="TextBox 31"/>
            <p:cNvSpPr txBox="1"/>
            <p:nvPr/>
          </p:nvSpPr>
          <p:spPr bwMode="auto">
            <a:xfrm>
              <a:off x="5369511" y="1702260"/>
              <a:ext cx="1120821" cy="600164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300" kern="0" dirty="0">
                  <a:solidFill>
                    <a:srgbClr val="1F497D"/>
                  </a:solidFill>
                  <a:latin typeface="Century Gothic"/>
                </a:rPr>
                <a:t>8919</a:t>
              </a:r>
              <a:endParaRPr lang="en-US" sz="2400" kern="0" dirty="0">
                <a:solidFill>
                  <a:srgbClr val="1F497D"/>
                </a:solidFill>
                <a:latin typeface="Century Gothic"/>
              </a:endParaRPr>
            </a:p>
          </p:txBody>
        </p:sp>
        <p:sp>
          <p:nvSpPr>
            <p:cNvPr id="43" name="TextBox 42"/>
            <p:cNvSpPr txBox="1"/>
            <p:nvPr/>
          </p:nvSpPr>
          <p:spPr bwMode="auto">
            <a:xfrm>
              <a:off x="6367699" y="1832488"/>
              <a:ext cx="1388522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PROJECT &amp; PROGRAM</a:t>
              </a:r>
            </a:p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ACTIVITIES</a:t>
              </a:r>
              <a:endParaRPr lang="en-US" sz="750" b="1" kern="0" dirty="0">
                <a:solidFill>
                  <a:srgbClr val="1F497D"/>
                </a:solidFill>
                <a:latin typeface="Century Gothic"/>
              </a:endParaRPr>
            </a:p>
          </p:txBody>
        </p:sp>
        <p:cxnSp>
          <p:nvCxnSpPr>
            <p:cNvPr id="51" name="Straight Connector 50"/>
            <p:cNvCxnSpPr/>
            <p:nvPr/>
          </p:nvCxnSpPr>
          <p:spPr bwMode="auto">
            <a:xfrm>
              <a:off x="5211975" y="2260662"/>
              <a:ext cx="2478881" cy="0"/>
            </a:xfrm>
            <a:prstGeom prst="line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</p:grpSp>
      <p:sp>
        <p:nvSpPr>
          <p:cNvPr id="52" name="TextBox 51"/>
          <p:cNvSpPr txBox="1"/>
          <p:nvPr/>
        </p:nvSpPr>
        <p:spPr bwMode="auto">
          <a:xfrm>
            <a:off x="5137241" y="2302560"/>
            <a:ext cx="1840568" cy="20774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750" kern="0" dirty="0">
                <a:solidFill>
                  <a:srgbClr val="595959"/>
                </a:solidFill>
                <a:latin typeface="Century Gothic"/>
              </a:rPr>
              <a:t>THE PROJECT HAS TO HANDLE OVER</a:t>
            </a:r>
            <a:endParaRPr lang="en-US" sz="525" kern="0" dirty="0">
              <a:solidFill>
                <a:srgbClr val="595959"/>
              </a:solidFill>
              <a:latin typeface="Century Gothic"/>
            </a:endParaRPr>
          </a:p>
        </p:txBody>
      </p:sp>
      <p:sp>
        <p:nvSpPr>
          <p:cNvPr id="20484" name="Slide Number Placeholder 3"/>
          <p:cNvSpPr txBox="1">
            <a:spLocks/>
          </p:cNvSpPr>
          <p:nvPr/>
        </p:nvSpPr>
        <p:spPr bwMode="auto">
          <a:xfrm>
            <a:off x="7360097" y="4800439"/>
            <a:ext cx="1600200" cy="27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r>
              <a:rPr lang="en-US" altLang="en-US" sz="675" dirty="0" smtClean="0">
                <a:latin typeface="Cambria" panose="02040503050406030204" pitchFamily="18" charset="0"/>
              </a:rPr>
              <a:t>4</a:t>
            </a:r>
            <a:endParaRPr lang="en-MY" altLang="en-US" sz="675" dirty="0">
              <a:latin typeface="Cambria" panose="02040503050406030204" pitchFamily="18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215177" y="3230978"/>
            <a:ext cx="1996036" cy="553998"/>
            <a:chOff x="2797212" y="3535822"/>
            <a:chExt cx="1996036" cy="553998"/>
          </a:xfrm>
        </p:grpSpPr>
        <p:sp>
          <p:nvSpPr>
            <p:cNvPr id="22" name="TextBox 21"/>
            <p:cNvSpPr txBox="1"/>
            <p:nvPr/>
          </p:nvSpPr>
          <p:spPr bwMode="auto">
            <a:xfrm>
              <a:off x="3476862" y="3644169"/>
              <a:ext cx="1316386" cy="34624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900" b="1" kern="0" dirty="0">
                  <a:solidFill>
                    <a:srgbClr val="1F497D"/>
                  </a:solidFill>
                  <a:latin typeface="Century Gothic"/>
                </a:rPr>
                <a:t>EXTERNAL AGENCIES</a:t>
              </a:r>
            </a:p>
            <a:p>
              <a:pPr algn="ctr">
                <a:defRPr/>
              </a:pPr>
              <a:r>
                <a:rPr lang="en-US" sz="750" b="1" kern="0" dirty="0">
                  <a:solidFill>
                    <a:srgbClr val="1F497D"/>
                  </a:solidFill>
                  <a:latin typeface="Century Gothic"/>
                </a:rPr>
                <a:t>/SYSTEMS</a:t>
              </a:r>
            </a:p>
          </p:txBody>
        </p:sp>
        <p:sp>
          <p:nvSpPr>
            <p:cNvPr id="30" name="TextBox 29"/>
            <p:cNvSpPr txBox="1"/>
            <p:nvPr/>
          </p:nvSpPr>
          <p:spPr bwMode="auto">
            <a:xfrm>
              <a:off x="2797212" y="3535822"/>
              <a:ext cx="824265" cy="55399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3000" kern="0" dirty="0">
                  <a:solidFill>
                    <a:srgbClr val="1F497D"/>
                  </a:solidFill>
                  <a:latin typeface="Century Gothic"/>
                </a:rPr>
                <a:t>138</a:t>
              </a:r>
              <a:endParaRPr lang="en-US" sz="2100" kern="0" dirty="0">
                <a:solidFill>
                  <a:srgbClr val="1F497D"/>
                </a:solidFill>
                <a:latin typeface="Century Gothic"/>
              </a:endParaRPr>
            </a:p>
          </p:txBody>
        </p:sp>
        <p:cxnSp>
          <p:nvCxnSpPr>
            <p:cNvPr id="54" name="Straight Connector 53"/>
            <p:cNvCxnSpPr/>
            <p:nvPr/>
          </p:nvCxnSpPr>
          <p:spPr bwMode="auto">
            <a:xfrm>
              <a:off x="3621477" y="3975497"/>
              <a:ext cx="1026319" cy="0"/>
            </a:xfrm>
            <a:prstGeom prst="line">
              <a:avLst/>
            </a:prstGeom>
            <a:noFill/>
            <a:ln w="25400" cap="flat" cmpd="sng" algn="ctr">
              <a:solidFill>
                <a:srgbClr val="4F81BD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</p:grpSp>
      <p:pic>
        <p:nvPicPr>
          <p:cNvPr id="65" name="Picture 64">
            <a:extLst>
              <a:ext uri="{FF2B5EF4-FFF2-40B4-BE49-F238E27FC236}">
                <a16:creationId xmlns:a16="http://schemas.microsoft.com/office/drawing/2014/main" xmlns="" id="{C497C69E-1C03-4809-B7A4-FAD1D5F28F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77" y="84852"/>
            <a:ext cx="772047" cy="770650"/>
          </a:xfrm>
          <a:prstGeom prst="rect">
            <a:avLst/>
          </a:prstGeom>
        </p:spPr>
      </p:pic>
      <p:pic>
        <p:nvPicPr>
          <p:cNvPr id="66" name="Picture 65" descr="C:\Users\nfarahin.ali\Downloads\logo napsac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8017" y="181313"/>
            <a:ext cx="835006" cy="653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Title 1"/>
          <p:cNvSpPr>
            <a:spLocks noGrp="1"/>
          </p:cNvSpPr>
          <p:nvPr>
            <p:ph type="title"/>
          </p:nvPr>
        </p:nvSpPr>
        <p:spPr bwMode="auto">
          <a:xfrm>
            <a:off x="4366941" y="383461"/>
            <a:ext cx="6226969" cy="60062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3305" tIns="31652" rIns="63305" bIns="3165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MY" altLang="en-US" sz="32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</a:t>
            </a:r>
            <a:r>
              <a:rPr lang="en-MY" altLang="en-US" sz="3200" b="1" dirty="0" err="1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FMAS</a:t>
            </a:r>
            <a:r>
              <a:rPr lang="en-MY" altLang="en-US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br>
              <a:rPr lang="en-MY" altLang="en-US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MY" altLang="en-US" sz="3200" b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0032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4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4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9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9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9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9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8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7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77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8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1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22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29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51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62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8900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200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40" grpId="0"/>
      <p:bldP spid="41" grpId="0"/>
      <p:bldP spid="5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/>
            </a:extLst>
          </p:cNvPr>
          <p:cNvSpPr/>
          <p:nvPr/>
        </p:nvSpPr>
        <p:spPr>
          <a:xfrm>
            <a:off x="2164537" y="1352928"/>
            <a:ext cx="115211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atinLnBrk="1">
              <a:defRPr/>
            </a:pPr>
            <a:r>
              <a:rPr lang="en-MY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en-MY" b="1" dirty="0">
                <a:solidFill>
                  <a:srgbClr val="002060"/>
                </a:solidFill>
                <a:latin typeface="Calibri"/>
              </a:rPr>
              <a:t> </a:t>
            </a:r>
          </a:p>
          <a:p>
            <a:pPr latinLnBrk="1">
              <a:defRPr/>
            </a:pPr>
            <a:r>
              <a:rPr lang="en-MY" b="1" dirty="0">
                <a:solidFill>
                  <a:srgbClr val="002060"/>
                </a:solidFill>
                <a:latin typeface="Calibri"/>
              </a:rPr>
              <a:t>Economic </a:t>
            </a:r>
          </a:p>
          <a:p>
            <a:pPr latinLnBrk="1">
              <a:defRPr/>
            </a:pPr>
            <a:r>
              <a:rPr lang="en-MY" b="1" dirty="0">
                <a:solidFill>
                  <a:srgbClr val="002060"/>
                </a:solidFill>
                <a:latin typeface="Calibri"/>
              </a:rPr>
              <a:t>Model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992899" y="1580507"/>
            <a:ext cx="905035" cy="741831"/>
            <a:chOff x="5907013" y="5266246"/>
            <a:chExt cx="774700" cy="635000"/>
          </a:xfrm>
          <a:solidFill>
            <a:srgbClr val="968C6D"/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7" name="Freeform 800"/>
            <p:cNvSpPr>
              <a:spLocks noEditPoints="1"/>
            </p:cNvSpPr>
            <p:nvPr/>
          </p:nvSpPr>
          <p:spPr bwMode="auto">
            <a:xfrm>
              <a:off x="6138788" y="5313871"/>
              <a:ext cx="295275" cy="587375"/>
            </a:xfrm>
            <a:custGeom>
              <a:avLst/>
              <a:gdLst>
                <a:gd name="T0" fmla="*/ 106 w 186"/>
                <a:gd name="T1" fmla="*/ 364 h 370"/>
                <a:gd name="T2" fmla="*/ 98 w 186"/>
                <a:gd name="T3" fmla="*/ 370 h 370"/>
                <a:gd name="T4" fmla="*/ 82 w 186"/>
                <a:gd name="T5" fmla="*/ 370 h 370"/>
                <a:gd name="T6" fmla="*/ 78 w 186"/>
                <a:gd name="T7" fmla="*/ 362 h 370"/>
                <a:gd name="T8" fmla="*/ 56 w 186"/>
                <a:gd name="T9" fmla="*/ 340 h 370"/>
                <a:gd name="T10" fmla="*/ 8 w 186"/>
                <a:gd name="T11" fmla="*/ 326 h 370"/>
                <a:gd name="T12" fmla="*/ 0 w 186"/>
                <a:gd name="T13" fmla="*/ 318 h 370"/>
                <a:gd name="T14" fmla="*/ 14 w 186"/>
                <a:gd name="T15" fmla="*/ 276 h 370"/>
                <a:gd name="T16" fmla="*/ 18 w 186"/>
                <a:gd name="T17" fmla="*/ 272 h 370"/>
                <a:gd name="T18" fmla="*/ 24 w 186"/>
                <a:gd name="T19" fmla="*/ 274 h 370"/>
                <a:gd name="T20" fmla="*/ 78 w 186"/>
                <a:gd name="T21" fmla="*/ 292 h 370"/>
                <a:gd name="T22" fmla="*/ 70 w 186"/>
                <a:gd name="T23" fmla="*/ 202 h 370"/>
                <a:gd name="T24" fmla="*/ 24 w 186"/>
                <a:gd name="T25" fmla="*/ 174 h 370"/>
                <a:gd name="T26" fmla="*/ 2 w 186"/>
                <a:gd name="T27" fmla="*/ 136 h 370"/>
                <a:gd name="T28" fmla="*/ 2 w 186"/>
                <a:gd name="T29" fmla="*/ 100 h 370"/>
                <a:gd name="T30" fmla="*/ 18 w 186"/>
                <a:gd name="T31" fmla="*/ 64 h 370"/>
                <a:gd name="T32" fmla="*/ 44 w 186"/>
                <a:gd name="T33" fmla="*/ 42 h 370"/>
                <a:gd name="T34" fmla="*/ 78 w 186"/>
                <a:gd name="T35" fmla="*/ 10 h 370"/>
                <a:gd name="T36" fmla="*/ 80 w 186"/>
                <a:gd name="T37" fmla="*/ 4 h 370"/>
                <a:gd name="T38" fmla="*/ 98 w 186"/>
                <a:gd name="T39" fmla="*/ 0 h 370"/>
                <a:gd name="T40" fmla="*/ 106 w 186"/>
                <a:gd name="T41" fmla="*/ 4 h 370"/>
                <a:gd name="T42" fmla="*/ 106 w 186"/>
                <a:gd name="T43" fmla="*/ 32 h 370"/>
                <a:gd name="T44" fmla="*/ 150 w 186"/>
                <a:gd name="T45" fmla="*/ 40 h 370"/>
                <a:gd name="T46" fmla="*/ 170 w 186"/>
                <a:gd name="T47" fmla="*/ 50 h 370"/>
                <a:gd name="T48" fmla="*/ 178 w 186"/>
                <a:gd name="T49" fmla="*/ 60 h 370"/>
                <a:gd name="T50" fmla="*/ 162 w 186"/>
                <a:gd name="T51" fmla="*/ 94 h 370"/>
                <a:gd name="T52" fmla="*/ 158 w 186"/>
                <a:gd name="T53" fmla="*/ 96 h 370"/>
                <a:gd name="T54" fmla="*/ 148 w 186"/>
                <a:gd name="T55" fmla="*/ 92 h 370"/>
                <a:gd name="T56" fmla="*/ 106 w 186"/>
                <a:gd name="T57" fmla="*/ 78 h 370"/>
                <a:gd name="T58" fmla="*/ 114 w 186"/>
                <a:gd name="T59" fmla="*/ 166 h 370"/>
                <a:gd name="T60" fmla="*/ 164 w 186"/>
                <a:gd name="T61" fmla="*/ 198 h 370"/>
                <a:gd name="T62" fmla="*/ 184 w 186"/>
                <a:gd name="T63" fmla="*/ 236 h 370"/>
                <a:gd name="T64" fmla="*/ 184 w 186"/>
                <a:gd name="T65" fmla="*/ 270 h 370"/>
                <a:gd name="T66" fmla="*/ 164 w 186"/>
                <a:gd name="T67" fmla="*/ 312 h 370"/>
                <a:gd name="T68" fmla="*/ 124 w 186"/>
                <a:gd name="T69" fmla="*/ 338 h 370"/>
                <a:gd name="T70" fmla="*/ 82 w 186"/>
                <a:gd name="T71" fmla="*/ 78 h 370"/>
                <a:gd name="T72" fmla="*/ 68 w 186"/>
                <a:gd name="T73" fmla="*/ 84 h 370"/>
                <a:gd name="T74" fmla="*/ 58 w 186"/>
                <a:gd name="T75" fmla="*/ 94 h 370"/>
                <a:gd name="T76" fmla="*/ 52 w 186"/>
                <a:gd name="T77" fmla="*/ 114 h 370"/>
                <a:gd name="T78" fmla="*/ 60 w 186"/>
                <a:gd name="T79" fmla="*/ 138 h 370"/>
                <a:gd name="T80" fmla="*/ 82 w 186"/>
                <a:gd name="T81" fmla="*/ 78 h 370"/>
                <a:gd name="T82" fmla="*/ 112 w 186"/>
                <a:gd name="T83" fmla="*/ 290 h 370"/>
                <a:gd name="T84" fmla="*/ 130 w 186"/>
                <a:gd name="T85" fmla="*/ 274 h 370"/>
                <a:gd name="T86" fmla="*/ 134 w 186"/>
                <a:gd name="T87" fmla="*/ 258 h 370"/>
                <a:gd name="T88" fmla="*/ 126 w 186"/>
                <a:gd name="T89" fmla="*/ 234 h 370"/>
                <a:gd name="T90" fmla="*/ 104 w 186"/>
                <a:gd name="T91" fmla="*/ 21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6" h="370">
                  <a:moveTo>
                    <a:pt x="106" y="362"/>
                  </a:moveTo>
                  <a:lnTo>
                    <a:pt x="106" y="362"/>
                  </a:lnTo>
                  <a:lnTo>
                    <a:pt x="106" y="364"/>
                  </a:lnTo>
                  <a:lnTo>
                    <a:pt x="106" y="368"/>
                  </a:lnTo>
                  <a:lnTo>
                    <a:pt x="104" y="370"/>
                  </a:lnTo>
                  <a:lnTo>
                    <a:pt x="98" y="370"/>
                  </a:lnTo>
                  <a:lnTo>
                    <a:pt x="88" y="370"/>
                  </a:lnTo>
                  <a:lnTo>
                    <a:pt x="88" y="370"/>
                  </a:lnTo>
                  <a:lnTo>
                    <a:pt x="82" y="370"/>
                  </a:lnTo>
                  <a:lnTo>
                    <a:pt x="80" y="368"/>
                  </a:lnTo>
                  <a:lnTo>
                    <a:pt x="78" y="364"/>
                  </a:lnTo>
                  <a:lnTo>
                    <a:pt x="78" y="362"/>
                  </a:lnTo>
                  <a:lnTo>
                    <a:pt x="78" y="342"/>
                  </a:lnTo>
                  <a:lnTo>
                    <a:pt x="78" y="342"/>
                  </a:lnTo>
                  <a:lnTo>
                    <a:pt x="56" y="340"/>
                  </a:lnTo>
                  <a:lnTo>
                    <a:pt x="36" y="336"/>
                  </a:lnTo>
                  <a:lnTo>
                    <a:pt x="18" y="330"/>
                  </a:lnTo>
                  <a:lnTo>
                    <a:pt x="8" y="326"/>
                  </a:lnTo>
                  <a:lnTo>
                    <a:pt x="8" y="326"/>
                  </a:lnTo>
                  <a:lnTo>
                    <a:pt x="4" y="322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2" y="314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74"/>
                  </a:lnTo>
                  <a:lnTo>
                    <a:pt x="18" y="272"/>
                  </a:lnTo>
                  <a:lnTo>
                    <a:pt x="18" y="272"/>
                  </a:lnTo>
                  <a:lnTo>
                    <a:pt x="24" y="274"/>
                  </a:lnTo>
                  <a:lnTo>
                    <a:pt x="24" y="274"/>
                  </a:lnTo>
                  <a:lnTo>
                    <a:pt x="44" y="284"/>
                  </a:lnTo>
                  <a:lnTo>
                    <a:pt x="60" y="290"/>
                  </a:lnTo>
                  <a:lnTo>
                    <a:pt x="78" y="292"/>
                  </a:lnTo>
                  <a:lnTo>
                    <a:pt x="78" y="204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48" y="190"/>
                  </a:lnTo>
                  <a:lnTo>
                    <a:pt x="36" y="184"/>
                  </a:lnTo>
                  <a:lnTo>
                    <a:pt x="24" y="174"/>
                  </a:lnTo>
                  <a:lnTo>
                    <a:pt x="14" y="164"/>
                  </a:lnTo>
                  <a:lnTo>
                    <a:pt x="6" y="152"/>
                  </a:lnTo>
                  <a:lnTo>
                    <a:pt x="2" y="136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2" y="100"/>
                  </a:lnTo>
                  <a:lnTo>
                    <a:pt x="6" y="86"/>
                  </a:lnTo>
                  <a:lnTo>
                    <a:pt x="10" y="7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30" y="52"/>
                  </a:lnTo>
                  <a:lnTo>
                    <a:pt x="44" y="42"/>
                  </a:lnTo>
                  <a:lnTo>
                    <a:pt x="60" y="36"/>
                  </a:lnTo>
                  <a:lnTo>
                    <a:pt x="78" y="32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6"/>
                  </a:lnTo>
                  <a:lnTo>
                    <a:pt x="80" y="4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4" y="2"/>
                  </a:lnTo>
                  <a:lnTo>
                    <a:pt x="106" y="4"/>
                  </a:lnTo>
                  <a:lnTo>
                    <a:pt x="106" y="6"/>
                  </a:lnTo>
                  <a:lnTo>
                    <a:pt x="106" y="10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30" y="34"/>
                  </a:lnTo>
                  <a:lnTo>
                    <a:pt x="150" y="40"/>
                  </a:lnTo>
                  <a:lnTo>
                    <a:pt x="162" y="44"/>
                  </a:lnTo>
                  <a:lnTo>
                    <a:pt x="170" y="50"/>
                  </a:lnTo>
                  <a:lnTo>
                    <a:pt x="170" y="50"/>
                  </a:lnTo>
                  <a:lnTo>
                    <a:pt x="174" y="52"/>
                  </a:lnTo>
                  <a:lnTo>
                    <a:pt x="176" y="56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6" y="62"/>
                  </a:lnTo>
                  <a:lnTo>
                    <a:pt x="162" y="94"/>
                  </a:lnTo>
                  <a:lnTo>
                    <a:pt x="162" y="94"/>
                  </a:lnTo>
                  <a:lnTo>
                    <a:pt x="160" y="96"/>
                  </a:lnTo>
                  <a:lnTo>
                    <a:pt x="158" y="96"/>
                  </a:lnTo>
                  <a:lnTo>
                    <a:pt x="158" y="96"/>
                  </a:lnTo>
                  <a:lnTo>
                    <a:pt x="148" y="92"/>
                  </a:lnTo>
                  <a:lnTo>
                    <a:pt x="148" y="92"/>
                  </a:lnTo>
                  <a:lnTo>
                    <a:pt x="132" y="84"/>
                  </a:lnTo>
                  <a:lnTo>
                    <a:pt x="120" y="82"/>
                  </a:lnTo>
                  <a:lnTo>
                    <a:pt x="106" y="78"/>
                  </a:lnTo>
                  <a:lnTo>
                    <a:pt x="106" y="162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42" y="180"/>
                  </a:lnTo>
                  <a:lnTo>
                    <a:pt x="154" y="188"/>
                  </a:lnTo>
                  <a:lnTo>
                    <a:pt x="164" y="198"/>
                  </a:lnTo>
                  <a:lnTo>
                    <a:pt x="172" y="210"/>
                  </a:lnTo>
                  <a:lnTo>
                    <a:pt x="180" y="222"/>
                  </a:lnTo>
                  <a:lnTo>
                    <a:pt x="184" y="236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84" y="270"/>
                  </a:lnTo>
                  <a:lnTo>
                    <a:pt x="180" y="284"/>
                  </a:lnTo>
                  <a:lnTo>
                    <a:pt x="174" y="298"/>
                  </a:lnTo>
                  <a:lnTo>
                    <a:pt x="164" y="312"/>
                  </a:lnTo>
                  <a:lnTo>
                    <a:pt x="154" y="322"/>
                  </a:lnTo>
                  <a:lnTo>
                    <a:pt x="140" y="330"/>
                  </a:lnTo>
                  <a:lnTo>
                    <a:pt x="124" y="338"/>
                  </a:lnTo>
                  <a:lnTo>
                    <a:pt x="106" y="342"/>
                  </a:lnTo>
                  <a:lnTo>
                    <a:pt x="106" y="362"/>
                  </a:lnTo>
                  <a:close/>
                  <a:moveTo>
                    <a:pt x="82" y="78"/>
                  </a:moveTo>
                  <a:lnTo>
                    <a:pt x="82" y="78"/>
                  </a:lnTo>
                  <a:lnTo>
                    <a:pt x="74" y="82"/>
                  </a:lnTo>
                  <a:lnTo>
                    <a:pt x="68" y="84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58" y="94"/>
                  </a:lnTo>
                  <a:lnTo>
                    <a:pt x="54" y="100"/>
                  </a:lnTo>
                  <a:lnTo>
                    <a:pt x="52" y="106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70" y="146"/>
                  </a:lnTo>
                  <a:lnTo>
                    <a:pt x="82" y="152"/>
                  </a:lnTo>
                  <a:lnTo>
                    <a:pt x="82" y="78"/>
                  </a:lnTo>
                  <a:close/>
                  <a:moveTo>
                    <a:pt x="104" y="292"/>
                  </a:moveTo>
                  <a:lnTo>
                    <a:pt x="104" y="292"/>
                  </a:lnTo>
                  <a:lnTo>
                    <a:pt x="112" y="290"/>
                  </a:lnTo>
                  <a:lnTo>
                    <a:pt x="122" y="284"/>
                  </a:lnTo>
                  <a:lnTo>
                    <a:pt x="126" y="280"/>
                  </a:lnTo>
                  <a:lnTo>
                    <a:pt x="130" y="274"/>
                  </a:lnTo>
                  <a:lnTo>
                    <a:pt x="132" y="266"/>
                  </a:lnTo>
                  <a:lnTo>
                    <a:pt x="134" y="258"/>
                  </a:lnTo>
                  <a:lnTo>
                    <a:pt x="134" y="258"/>
                  </a:lnTo>
                  <a:lnTo>
                    <a:pt x="132" y="248"/>
                  </a:lnTo>
                  <a:lnTo>
                    <a:pt x="130" y="240"/>
                  </a:lnTo>
                  <a:lnTo>
                    <a:pt x="126" y="234"/>
                  </a:lnTo>
                  <a:lnTo>
                    <a:pt x="122" y="228"/>
                  </a:lnTo>
                  <a:lnTo>
                    <a:pt x="112" y="220"/>
                  </a:lnTo>
                  <a:lnTo>
                    <a:pt x="104" y="216"/>
                  </a:lnTo>
                  <a:lnTo>
                    <a:pt x="104" y="216"/>
                  </a:lnTo>
                  <a:lnTo>
                    <a:pt x="104" y="292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" name="Freeform 801"/>
            <p:cNvSpPr>
              <a:spLocks noEditPoints="1"/>
            </p:cNvSpPr>
            <p:nvPr/>
          </p:nvSpPr>
          <p:spPr bwMode="auto">
            <a:xfrm>
              <a:off x="6011788" y="5275771"/>
              <a:ext cx="117475" cy="231775"/>
            </a:xfrm>
            <a:custGeom>
              <a:avLst/>
              <a:gdLst>
                <a:gd name="T0" fmla="*/ 42 w 74"/>
                <a:gd name="T1" fmla="*/ 142 h 146"/>
                <a:gd name="T2" fmla="*/ 38 w 74"/>
                <a:gd name="T3" fmla="*/ 146 h 146"/>
                <a:gd name="T4" fmla="*/ 34 w 74"/>
                <a:gd name="T5" fmla="*/ 146 h 146"/>
                <a:gd name="T6" fmla="*/ 32 w 74"/>
                <a:gd name="T7" fmla="*/ 142 h 146"/>
                <a:gd name="T8" fmla="*/ 32 w 74"/>
                <a:gd name="T9" fmla="*/ 134 h 146"/>
                <a:gd name="T10" fmla="*/ 14 w 74"/>
                <a:gd name="T11" fmla="*/ 132 h 146"/>
                <a:gd name="T12" fmla="*/ 2 w 74"/>
                <a:gd name="T13" fmla="*/ 128 h 146"/>
                <a:gd name="T14" fmla="*/ 0 w 74"/>
                <a:gd name="T15" fmla="*/ 126 h 146"/>
                <a:gd name="T16" fmla="*/ 6 w 74"/>
                <a:gd name="T17" fmla="*/ 108 h 146"/>
                <a:gd name="T18" fmla="*/ 8 w 74"/>
                <a:gd name="T19" fmla="*/ 108 h 146"/>
                <a:gd name="T20" fmla="*/ 10 w 74"/>
                <a:gd name="T21" fmla="*/ 108 h 146"/>
                <a:gd name="T22" fmla="*/ 18 w 74"/>
                <a:gd name="T23" fmla="*/ 112 h 146"/>
                <a:gd name="T24" fmla="*/ 32 w 74"/>
                <a:gd name="T25" fmla="*/ 80 h 146"/>
                <a:gd name="T26" fmla="*/ 28 w 74"/>
                <a:gd name="T27" fmla="*/ 80 h 146"/>
                <a:gd name="T28" fmla="*/ 10 w 74"/>
                <a:gd name="T29" fmla="*/ 68 h 146"/>
                <a:gd name="T30" fmla="*/ 2 w 74"/>
                <a:gd name="T31" fmla="*/ 60 h 146"/>
                <a:gd name="T32" fmla="*/ 0 w 74"/>
                <a:gd name="T33" fmla="*/ 46 h 146"/>
                <a:gd name="T34" fmla="*/ 2 w 74"/>
                <a:gd name="T35" fmla="*/ 34 h 146"/>
                <a:gd name="T36" fmla="*/ 6 w 74"/>
                <a:gd name="T37" fmla="*/ 24 h 146"/>
                <a:gd name="T38" fmla="*/ 18 w 74"/>
                <a:gd name="T39" fmla="*/ 16 h 146"/>
                <a:gd name="T40" fmla="*/ 32 w 74"/>
                <a:gd name="T41" fmla="*/ 4 h 146"/>
                <a:gd name="T42" fmla="*/ 32 w 74"/>
                <a:gd name="T43" fmla="*/ 2 h 146"/>
                <a:gd name="T44" fmla="*/ 38 w 74"/>
                <a:gd name="T45" fmla="*/ 0 h 146"/>
                <a:gd name="T46" fmla="*/ 42 w 74"/>
                <a:gd name="T47" fmla="*/ 2 h 146"/>
                <a:gd name="T48" fmla="*/ 42 w 74"/>
                <a:gd name="T49" fmla="*/ 12 h 146"/>
                <a:gd name="T50" fmla="*/ 52 w 74"/>
                <a:gd name="T51" fmla="*/ 14 h 146"/>
                <a:gd name="T52" fmla="*/ 68 w 74"/>
                <a:gd name="T53" fmla="*/ 20 h 146"/>
                <a:gd name="T54" fmla="*/ 68 w 74"/>
                <a:gd name="T55" fmla="*/ 20 h 146"/>
                <a:gd name="T56" fmla="*/ 70 w 74"/>
                <a:gd name="T57" fmla="*/ 24 h 146"/>
                <a:gd name="T58" fmla="*/ 64 w 74"/>
                <a:gd name="T59" fmla="*/ 36 h 146"/>
                <a:gd name="T60" fmla="*/ 62 w 74"/>
                <a:gd name="T61" fmla="*/ 38 h 146"/>
                <a:gd name="T62" fmla="*/ 58 w 74"/>
                <a:gd name="T63" fmla="*/ 36 h 146"/>
                <a:gd name="T64" fmla="*/ 42 w 74"/>
                <a:gd name="T65" fmla="*/ 30 h 146"/>
                <a:gd name="T66" fmla="*/ 44 w 74"/>
                <a:gd name="T67" fmla="*/ 64 h 146"/>
                <a:gd name="T68" fmla="*/ 56 w 74"/>
                <a:gd name="T69" fmla="*/ 70 h 146"/>
                <a:gd name="T70" fmla="*/ 70 w 74"/>
                <a:gd name="T71" fmla="*/ 88 h 146"/>
                <a:gd name="T72" fmla="*/ 74 w 74"/>
                <a:gd name="T73" fmla="*/ 100 h 146"/>
                <a:gd name="T74" fmla="*/ 70 w 74"/>
                <a:gd name="T75" fmla="*/ 112 h 146"/>
                <a:gd name="T76" fmla="*/ 56 w 74"/>
                <a:gd name="T77" fmla="*/ 130 h 146"/>
                <a:gd name="T78" fmla="*/ 42 w 74"/>
                <a:gd name="T79" fmla="*/ 142 h 146"/>
                <a:gd name="T80" fmla="*/ 32 w 74"/>
                <a:gd name="T81" fmla="*/ 30 h 146"/>
                <a:gd name="T82" fmla="*/ 24 w 74"/>
                <a:gd name="T83" fmla="*/ 34 h 146"/>
                <a:gd name="T84" fmla="*/ 22 w 74"/>
                <a:gd name="T85" fmla="*/ 40 h 146"/>
                <a:gd name="T86" fmla="*/ 20 w 74"/>
                <a:gd name="T87" fmla="*/ 44 h 146"/>
                <a:gd name="T88" fmla="*/ 24 w 74"/>
                <a:gd name="T89" fmla="*/ 54 h 146"/>
                <a:gd name="T90" fmla="*/ 32 w 74"/>
                <a:gd name="T91" fmla="*/ 60 h 146"/>
                <a:gd name="T92" fmla="*/ 40 w 74"/>
                <a:gd name="T93" fmla="*/ 116 h 146"/>
                <a:gd name="T94" fmla="*/ 48 w 74"/>
                <a:gd name="T95" fmla="*/ 112 h 146"/>
                <a:gd name="T96" fmla="*/ 52 w 74"/>
                <a:gd name="T97" fmla="*/ 102 h 146"/>
                <a:gd name="T98" fmla="*/ 52 w 74"/>
                <a:gd name="T99" fmla="*/ 94 h 146"/>
                <a:gd name="T100" fmla="*/ 42 w 74"/>
                <a:gd name="T101" fmla="*/ 84 h 146"/>
                <a:gd name="T102" fmla="*/ 40 w 74"/>
                <a:gd name="T103" fmla="*/ 11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4" h="146">
                  <a:moveTo>
                    <a:pt x="42" y="142"/>
                  </a:moveTo>
                  <a:lnTo>
                    <a:pt x="42" y="142"/>
                  </a:lnTo>
                  <a:lnTo>
                    <a:pt x="42" y="146"/>
                  </a:lnTo>
                  <a:lnTo>
                    <a:pt x="38" y="146"/>
                  </a:lnTo>
                  <a:lnTo>
                    <a:pt x="34" y="146"/>
                  </a:lnTo>
                  <a:lnTo>
                    <a:pt x="34" y="146"/>
                  </a:lnTo>
                  <a:lnTo>
                    <a:pt x="32" y="146"/>
                  </a:lnTo>
                  <a:lnTo>
                    <a:pt x="32" y="142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22" y="134"/>
                  </a:lnTo>
                  <a:lnTo>
                    <a:pt x="14" y="132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0" y="126"/>
                  </a:lnTo>
                  <a:lnTo>
                    <a:pt x="0" y="124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8" y="112"/>
                  </a:lnTo>
                  <a:lnTo>
                    <a:pt x="32" y="116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18" y="74"/>
                  </a:lnTo>
                  <a:lnTo>
                    <a:pt x="10" y="68"/>
                  </a:lnTo>
                  <a:lnTo>
                    <a:pt x="6" y="64"/>
                  </a:lnTo>
                  <a:lnTo>
                    <a:pt x="2" y="60"/>
                  </a:lnTo>
                  <a:lnTo>
                    <a:pt x="0" y="5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2" y="3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12" y="20"/>
                  </a:lnTo>
                  <a:lnTo>
                    <a:pt x="18" y="16"/>
                  </a:lnTo>
                  <a:lnTo>
                    <a:pt x="32" y="12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2" y="2"/>
                  </a:lnTo>
                  <a:lnTo>
                    <a:pt x="42" y="4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52" y="14"/>
                  </a:lnTo>
                  <a:lnTo>
                    <a:pt x="5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2" y="34"/>
                  </a:lnTo>
                  <a:lnTo>
                    <a:pt x="42" y="30"/>
                  </a:lnTo>
                  <a:lnTo>
                    <a:pt x="42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56" y="70"/>
                  </a:lnTo>
                  <a:lnTo>
                    <a:pt x="64" y="78"/>
                  </a:lnTo>
                  <a:lnTo>
                    <a:pt x="70" y="88"/>
                  </a:lnTo>
                  <a:lnTo>
                    <a:pt x="72" y="94"/>
                  </a:lnTo>
                  <a:lnTo>
                    <a:pt x="74" y="100"/>
                  </a:lnTo>
                  <a:lnTo>
                    <a:pt x="74" y="100"/>
                  </a:lnTo>
                  <a:lnTo>
                    <a:pt x="70" y="112"/>
                  </a:lnTo>
                  <a:lnTo>
                    <a:pt x="64" y="122"/>
                  </a:lnTo>
                  <a:lnTo>
                    <a:pt x="56" y="130"/>
                  </a:lnTo>
                  <a:lnTo>
                    <a:pt x="42" y="134"/>
                  </a:lnTo>
                  <a:lnTo>
                    <a:pt x="42" y="142"/>
                  </a:lnTo>
                  <a:close/>
                  <a:moveTo>
                    <a:pt x="32" y="30"/>
                  </a:moveTo>
                  <a:lnTo>
                    <a:pt x="32" y="30"/>
                  </a:lnTo>
                  <a:lnTo>
                    <a:pt x="28" y="32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8"/>
                  </a:lnTo>
                  <a:lnTo>
                    <a:pt x="32" y="60"/>
                  </a:lnTo>
                  <a:lnTo>
                    <a:pt x="32" y="30"/>
                  </a:lnTo>
                  <a:close/>
                  <a:moveTo>
                    <a:pt x="40" y="116"/>
                  </a:moveTo>
                  <a:lnTo>
                    <a:pt x="40" y="116"/>
                  </a:lnTo>
                  <a:lnTo>
                    <a:pt x="48" y="112"/>
                  </a:lnTo>
                  <a:lnTo>
                    <a:pt x="52" y="108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94"/>
                  </a:lnTo>
                  <a:lnTo>
                    <a:pt x="48" y="90"/>
                  </a:lnTo>
                  <a:lnTo>
                    <a:pt x="42" y="84"/>
                  </a:lnTo>
                  <a:lnTo>
                    <a:pt x="40" y="84"/>
                  </a:lnTo>
                  <a:lnTo>
                    <a:pt x="40" y="116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Freeform 802"/>
            <p:cNvSpPr>
              <a:spLocks noEditPoints="1"/>
            </p:cNvSpPr>
            <p:nvPr/>
          </p:nvSpPr>
          <p:spPr bwMode="auto">
            <a:xfrm>
              <a:off x="6075288" y="5558346"/>
              <a:ext cx="69850" cy="142875"/>
            </a:xfrm>
            <a:custGeom>
              <a:avLst/>
              <a:gdLst>
                <a:gd name="T0" fmla="*/ 26 w 44"/>
                <a:gd name="T1" fmla="*/ 86 h 90"/>
                <a:gd name="T2" fmla="*/ 24 w 44"/>
                <a:gd name="T3" fmla="*/ 90 h 90"/>
                <a:gd name="T4" fmla="*/ 22 w 44"/>
                <a:gd name="T5" fmla="*/ 90 h 90"/>
                <a:gd name="T6" fmla="*/ 18 w 44"/>
                <a:gd name="T7" fmla="*/ 86 h 90"/>
                <a:gd name="T8" fmla="*/ 18 w 44"/>
                <a:gd name="T9" fmla="*/ 82 h 90"/>
                <a:gd name="T10" fmla="*/ 2 w 44"/>
                <a:gd name="T11" fmla="*/ 78 h 90"/>
                <a:gd name="T12" fmla="*/ 0 w 44"/>
                <a:gd name="T13" fmla="*/ 76 h 90"/>
                <a:gd name="T14" fmla="*/ 4 w 44"/>
                <a:gd name="T15" fmla="*/ 66 h 90"/>
                <a:gd name="T16" fmla="*/ 4 w 44"/>
                <a:gd name="T17" fmla="*/ 66 h 90"/>
                <a:gd name="T18" fmla="*/ 6 w 44"/>
                <a:gd name="T19" fmla="*/ 66 h 90"/>
                <a:gd name="T20" fmla="*/ 18 w 44"/>
                <a:gd name="T21" fmla="*/ 70 h 90"/>
                <a:gd name="T22" fmla="*/ 16 w 44"/>
                <a:gd name="T23" fmla="*/ 48 h 90"/>
                <a:gd name="T24" fmla="*/ 12 w 44"/>
                <a:gd name="T25" fmla="*/ 46 h 90"/>
                <a:gd name="T26" fmla="*/ 2 w 44"/>
                <a:gd name="T27" fmla="*/ 36 h 90"/>
                <a:gd name="T28" fmla="*/ 0 w 44"/>
                <a:gd name="T29" fmla="*/ 28 h 90"/>
                <a:gd name="T30" fmla="*/ 4 w 44"/>
                <a:gd name="T31" fmla="*/ 16 h 90"/>
                <a:gd name="T32" fmla="*/ 10 w 44"/>
                <a:gd name="T33" fmla="*/ 10 h 90"/>
                <a:gd name="T34" fmla="*/ 18 w 44"/>
                <a:gd name="T35" fmla="*/ 2 h 90"/>
                <a:gd name="T36" fmla="*/ 18 w 44"/>
                <a:gd name="T37" fmla="*/ 0 h 90"/>
                <a:gd name="T38" fmla="*/ 24 w 44"/>
                <a:gd name="T39" fmla="*/ 0 h 90"/>
                <a:gd name="T40" fmla="*/ 26 w 44"/>
                <a:gd name="T41" fmla="*/ 0 h 90"/>
                <a:gd name="T42" fmla="*/ 26 w 44"/>
                <a:gd name="T43" fmla="*/ 8 h 90"/>
                <a:gd name="T44" fmla="*/ 36 w 44"/>
                <a:gd name="T45" fmla="*/ 10 h 90"/>
                <a:gd name="T46" fmla="*/ 40 w 44"/>
                <a:gd name="T47" fmla="*/ 12 h 90"/>
                <a:gd name="T48" fmla="*/ 42 w 44"/>
                <a:gd name="T49" fmla="*/ 14 h 90"/>
                <a:gd name="T50" fmla="*/ 38 w 44"/>
                <a:gd name="T51" fmla="*/ 24 h 90"/>
                <a:gd name="T52" fmla="*/ 36 w 44"/>
                <a:gd name="T53" fmla="*/ 22 h 90"/>
                <a:gd name="T54" fmla="*/ 32 w 44"/>
                <a:gd name="T55" fmla="*/ 20 h 90"/>
                <a:gd name="T56" fmla="*/ 26 w 44"/>
                <a:gd name="T57" fmla="*/ 38 h 90"/>
                <a:gd name="T58" fmla="*/ 28 w 44"/>
                <a:gd name="T59" fmla="*/ 40 h 90"/>
                <a:gd name="T60" fmla="*/ 40 w 44"/>
                <a:gd name="T61" fmla="*/ 48 h 90"/>
                <a:gd name="T62" fmla="*/ 44 w 44"/>
                <a:gd name="T63" fmla="*/ 60 h 90"/>
                <a:gd name="T64" fmla="*/ 44 w 44"/>
                <a:gd name="T65" fmla="*/ 68 h 90"/>
                <a:gd name="T66" fmla="*/ 34 w 44"/>
                <a:gd name="T67" fmla="*/ 80 h 90"/>
                <a:gd name="T68" fmla="*/ 26 w 44"/>
                <a:gd name="T69" fmla="*/ 86 h 90"/>
                <a:gd name="T70" fmla="*/ 20 w 44"/>
                <a:gd name="T71" fmla="*/ 18 h 90"/>
                <a:gd name="T72" fmla="*/ 14 w 44"/>
                <a:gd name="T73" fmla="*/ 22 h 90"/>
                <a:gd name="T74" fmla="*/ 12 w 44"/>
                <a:gd name="T75" fmla="*/ 28 h 90"/>
                <a:gd name="T76" fmla="*/ 14 w 44"/>
                <a:gd name="T77" fmla="*/ 32 h 90"/>
                <a:gd name="T78" fmla="*/ 20 w 44"/>
                <a:gd name="T79" fmla="*/ 18 h 90"/>
                <a:gd name="T80" fmla="*/ 24 w 44"/>
                <a:gd name="T81" fmla="*/ 70 h 90"/>
                <a:gd name="T82" fmla="*/ 32 w 44"/>
                <a:gd name="T83" fmla="*/ 66 h 90"/>
                <a:gd name="T84" fmla="*/ 32 w 44"/>
                <a:gd name="T85" fmla="*/ 62 h 90"/>
                <a:gd name="T86" fmla="*/ 30 w 44"/>
                <a:gd name="T87" fmla="*/ 54 h 90"/>
                <a:gd name="T88" fmla="*/ 24 w 44"/>
                <a:gd name="T89" fmla="*/ 5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" h="90">
                  <a:moveTo>
                    <a:pt x="26" y="86"/>
                  </a:moveTo>
                  <a:lnTo>
                    <a:pt x="26" y="86"/>
                  </a:lnTo>
                  <a:lnTo>
                    <a:pt x="26" y="88"/>
                  </a:lnTo>
                  <a:lnTo>
                    <a:pt x="24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18" y="88"/>
                  </a:lnTo>
                  <a:lnTo>
                    <a:pt x="18" y="86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8" y="80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10" y="68"/>
                  </a:lnTo>
                  <a:lnTo>
                    <a:pt x="18" y="70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6"/>
                  </a:lnTo>
                  <a:lnTo>
                    <a:pt x="6" y="42"/>
                  </a:lnTo>
                  <a:lnTo>
                    <a:pt x="2" y="3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10" y="10"/>
                  </a:lnTo>
                  <a:lnTo>
                    <a:pt x="18" y="8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36" y="10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8" y="22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2" y="20"/>
                  </a:lnTo>
                  <a:lnTo>
                    <a:pt x="26" y="18"/>
                  </a:lnTo>
                  <a:lnTo>
                    <a:pt x="26" y="38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4" y="44"/>
                  </a:lnTo>
                  <a:lnTo>
                    <a:pt x="40" y="48"/>
                  </a:lnTo>
                  <a:lnTo>
                    <a:pt x="44" y="54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8"/>
                  </a:lnTo>
                  <a:lnTo>
                    <a:pt x="40" y="74"/>
                  </a:lnTo>
                  <a:lnTo>
                    <a:pt x="34" y="80"/>
                  </a:lnTo>
                  <a:lnTo>
                    <a:pt x="26" y="82"/>
                  </a:lnTo>
                  <a:lnTo>
                    <a:pt x="26" y="86"/>
                  </a:lnTo>
                  <a:close/>
                  <a:moveTo>
                    <a:pt x="20" y="18"/>
                  </a:moveTo>
                  <a:lnTo>
                    <a:pt x="20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32"/>
                  </a:lnTo>
                  <a:lnTo>
                    <a:pt x="20" y="36"/>
                  </a:lnTo>
                  <a:lnTo>
                    <a:pt x="20" y="18"/>
                  </a:lnTo>
                  <a:close/>
                  <a:moveTo>
                    <a:pt x="24" y="70"/>
                  </a:moveTo>
                  <a:lnTo>
                    <a:pt x="24" y="70"/>
                  </a:lnTo>
                  <a:lnTo>
                    <a:pt x="30" y="68"/>
                  </a:lnTo>
                  <a:lnTo>
                    <a:pt x="32" y="66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58"/>
                  </a:lnTo>
                  <a:lnTo>
                    <a:pt x="30" y="54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70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" name="Freeform 803"/>
            <p:cNvSpPr>
              <a:spLocks noEditPoints="1"/>
            </p:cNvSpPr>
            <p:nvPr/>
          </p:nvSpPr>
          <p:spPr bwMode="auto">
            <a:xfrm>
              <a:off x="6453113" y="5698046"/>
              <a:ext cx="82550" cy="168275"/>
            </a:xfrm>
            <a:custGeom>
              <a:avLst/>
              <a:gdLst>
                <a:gd name="T0" fmla="*/ 30 w 52"/>
                <a:gd name="T1" fmla="*/ 102 h 106"/>
                <a:gd name="T2" fmla="*/ 26 w 52"/>
                <a:gd name="T3" fmla="*/ 106 h 106"/>
                <a:gd name="T4" fmla="*/ 24 w 52"/>
                <a:gd name="T5" fmla="*/ 106 h 106"/>
                <a:gd name="T6" fmla="*/ 22 w 52"/>
                <a:gd name="T7" fmla="*/ 102 h 106"/>
                <a:gd name="T8" fmla="*/ 22 w 52"/>
                <a:gd name="T9" fmla="*/ 96 h 106"/>
                <a:gd name="T10" fmla="*/ 2 w 52"/>
                <a:gd name="T11" fmla="*/ 92 h 106"/>
                <a:gd name="T12" fmla="*/ 0 w 52"/>
                <a:gd name="T13" fmla="*/ 90 h 106"/>
                <a:gd name="T14" fmla="*/ 4 w 52"/>
                <a:gd name="T15" fmla="*/ 78 h 106"/>
                <a:gd name="T16" fmla="*/ 4 w 52"/>
                <a:gd name="T17" fmla="*/ 78 h 106"/>
                <a:gd name="T18" fmla="*/ 6 w 52"/>
                <a:gd name="T19" fmla="*/ 78 h 106"/>
                <a:gd name="T20" fmla="*/ 22 w 52"/>
                <a:gd name="T21" fmla="*/ 84 h 106"/>
                <a:gd name="T22" fmla="*/ 20 w 52"/>
                <a:gd name="T23" fmla="*/ 58 h 106"/>
                <a:gd name="T24" fmla="*/ 12 w 52"/>
                <a:gd name="T25" fmla="*/ 54 h 106"/>
                <a:gd name="T26" fmla="*/ 2 w 52"/>
                <a:gd name="T27" fmla="*/ 44 h 106"/>
                <a:gd name="T28" fmla="*/ 0 w 52"/>
                <a:gd name="T29" fmla="*/ 34 h 106"/>
                <a:gd name="T30" fmla="*/ 4 w 52"/>
                <a:gd name="T31" fmla="*/ 18 h 106"/>
                <a:gd name="T32" fmla="*/ 12 w 52"/>
                <a:gd name="T33" fmla="*/ 12 h 106"/>
                <a:gd name="T34" fmla="*/ 22 w 52"/>
                <a:gd name="T35" fmla="*/ 4 h 106"/>
                <a:gd name="T36" fmla="*/ 22 w 52"/>
                <a:gd name="T37" fmla="*/ 2 h 106"/>
                <a:gd name="T38" fmla="*/ 26 w 52"/>
                <a:gd name="T39" fmla="*/ 0 h 106"/>
                <a:gd name="T40" fmla="*/ 30 w 52"/>
                <a:gd name="T41" fmla="*/ 2 h 106"/>
                <a:gd name="T42" fmla="*/ 30 w 52"/>
                <a:gd name="T43" fmla="*/ 10 h 106"/>
                <a:gd name="T44" fmla="*/ 42 w 52"/>
                <a:gd name="T45" fmla="*/ 12 h 106"/>
                <a:gd name="T46" fmla="*/ 48 w 52"/>
                <a:gd name="T47" fmla="*/ 14 h 106"/>
                <a:gd name="T48" fmla="*/ 48 w 52"/>
                <a:gd name="T49" fmla="*/ 18 h 106"/>
                <a:gd name="T50" fmla="*/ 44 w 52"/>
                <a:gd name="T51" fmla="*/ 26 h 106"/>
                <a:gd name="T52" fmla="*/ 44 w 52"/>
                <a:gd name="T53" fmla="*/ 28 h 106"/>
                <a:gd name="T54" fmla="*/ 42 w 52"/>
                <a:gd name="T55" fmla="*/ 26 h 106"/>
                <a:gd name="T56" fmla="*/ 30 w 52"/>
                <a:gd name="T57" fmla="*/ 22 h 106"/>
                <a:gd name="T58" fmla="*/ 32 w 52"/>
                <a:gd name="T59" fmla="*/ 48 h 106"/>
                <a:gd name="T60" fmla="*/ 40 w 52"/>
                <a:gd name="T61" fmla="*/ 52 h 106"/>
                <a:gd name="T62" fmla="*/ 50 w 52"/>
                <a:gd name="T63" fmla="*/ 64 h 106"/>
                <a:gd name="T64" fmla="*/ 52 w 52"/>
                <a:gd name="T65" fmla="*/ 72 h 106"/>
                <a:gd name="T66" fmla="*/ 46 w 52"/>
                <a:gd name="T67" fmla="*/ 88 h 106"/>
                <a:gd name="T68" fmla="*/ 30 w 52"/>
                <a:gd name="T69" fmla="*/ 96 h 106"/>
                <a:gd name="T70" fmla="*/ 22 w 52"/>
                <a:gd name="T71" fmla="*/ 22 h 106"/>
                <a:gd name="T72" fmla="*/ 20 w 52"/>
                <a:gd name="T73" fmla="*/ 24 h 106"/>
                <a:gd name="T74" fmla="*/ 16 w 52"/>
                <a:gd name="T75" fmla="*/ 26 h 106"/>
                <a:gd name="T76" fmla="*/ 14 w 52"/>
                <a:gd name="T77" fmla="*/ 32 h 106"/>
                <a:gd name="T78" fmla="*/ 14 w 52"/>
                <a:gd name="T79" fmla="*/ 36 h 106"/>
                <a:gd name="T80" fmla="*/ 22 w 52"/>
                <a:gd name="T81" fmla="*/ 44 h 106"/>
                <a:gd name="T82" fmla="*/ 28 w 52"/>
                <a:gd name="T83" fmla="*/ 84 h 106"/>
                <a:gd name="T84" fmla="*/ 34 w 52"/>
                <a:gd name="T85" fmla="*/ 80 h 106"/>
                <a:gd name="T86" fmla="*/ 36 w 52"/>
                <a:gd name="T87" fmla="*/ 74 h 106"/>
                <a:gd name="T88" fmla="*/ 36 w 52"/>
                <a:gd name="T89" fmla="*/ 68 h 106"/>
                <a:gd name="T90" fmla="*/ 28 w 52"/>
                <a:gd name="T91" fmla="*/ 62 h 106"/>
                <a:gd name="T92" fmla="*/ 28 w 52"/>
                <a:gd name="T93" fmla="*/ 8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2" h="106">
                  <a:moveTo>
                    <a:pt x="30" y="102"/>
                  </a:moveTo>
                  <a:lnTo>
                    <a:pt x="30" y="102"/>
                  </a:lnTo>
                  <a:lnTo>
                    <a:pt x="30" y="104"/>
                  </a:lnTo>
                  <a:lnTo>
                    <a:pt x="26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2" y="104"/>
                  </a:lnTo>
                  <a:lnTo>
                    <a:pt x="22" y="102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10" y="96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12" y="80"/>
                  </a:lnTo>
                  <a:lnTo>
                    <a:pt x="22" y="84"/>
                  </a:lnTo>
                  <a:lnTo>
                    <a:pt x="22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12" y="54"/>
                  </a:lnTo>
                  <a:lnTo>
                    <a:pt x="6" y="50"/>
                  </a:lnTo>
                  <a:lnTo>
                    <a:pt x="2" y="4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4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12" y="12"/>
                  </a:lnTo>
                  <a:lnTo>
                    <a:pt x="22" y="10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2"/>
                  </a:lnTo>
                  <a:lnTo>
                    <a:pt x="30" y="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42" y="12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50" y="18"/>
                  </a:lnTo>
                  <a:lnTo>
                    <a:pt x="48" y="18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36" y="24"/>
                  </a:lnTo>
                  <a:lnTo>
                    <a:pt x="30" y="22"/>
                  </a:lnTo>
                  <a:lnTo>
                    <a:pt x="30" y="46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40" y="52"/>
                  </a:lnTo>
                  <a:lnTo>
                    <a:pt x="46" y="56"/>
                  </a:lnTo>
                  <a:lnTo>
                    <a:pt x="50" y="64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0" y="80"/>
                  </a:lnTo>
                  <a:lnTo>
                    <a:pt x="46" y="88"/>
                  </a:lnTo>
                  <a:lnTo>
                    <a:pt x="38" y="94"/>
                  </a:lnTo>
                  <a:lnTo>
                    <a:pt x="30" y="96"/>
                  </a:lnTo>
                  <a:lnTo>
                    <a:pt x="30" y="102"/>
                  </a:lnTo>
                  <a:close/>
                  <a:moveTo>
                    <a:pt x="22" y="22"/>
                  </a:moveTo>
                  <a:lnTo>
                    <a:pt x="22" y="22"/>
                  </a:lnTo>
                  <a:lnTo>
                    <a:pt x="20" y="24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4" y="28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6"/>
                  </a:lnTo>
                  <a:lnTo>
                    <a:pt x="16" y="40"/>
                  </a:lnTo>
                  <a:lnTo>
                    <a:pt x="22" y="44"/>
                  </a:lnTo>
                  <a:lnTo>
                    <a:pt x="22" y="22"/>
                  </a:lnTo>
                  <a:close/>
                  <a:moveTo>
                    <a:pt x="28" y="84"/>
                  </a:moveTo>
                  <a:lnTo>
                    <a:pt x="28" y="84"/>
                  </a:lnTo>
                  <a:lnTo>
                    <a:pt x="34" y="80"/>
                  </a:lnTo>
                  <a:lnTo>
                    <a:pt x="36" y="78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68"/>
                  </a:lnTo>
                  <a:lnTo>
                    <a:pt x="34" y="64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8" y="84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" name="Freeform 804"/>
            <p:cNvSpPr>
              <a:spLocks noEditPoints="1"/>
            </p:cNvSpPr>
            <p:nvPr/>
          </p:nvSpPr>
          <p:spPr bwMode="auto">
            <a:xfrm>
              <a:off x="6576938" y="5551996"/>
              <a:ext cx="104775" cy="209550"/>
            </a:xfrm>
            <a:custGeom>
              <a:avLst/>
              <a:gdLst>
                <a:gd name="T0" fmla="*/ 38 w 66"/>
                <a:gd name="T1" fmla="*/ 128 h 132"/>
                <a:gd name="T2" fmla="*/ 36 w 66"/>
                <a:gd name="T3" fmla="*/ 132 h 132"/>
                <a:gd name="T4" fmla="*/ 32 w 66"/>
                <a:gd name="T5" fmla="*/ 132 h 132"/>
                <a:gd name="T6" fmla="*/ 28 w 66"/>
                <a:gd name="T7" fmla="*/ 128 h 132"/>
                <a:gd name="T8" fmla="*/ 28 w 66"/>
                <a:gd name="T9" fmla="*/ 122 h 132"/>
                <a:gd name="T10" fmla="*/ 4 w 66"/>
                <a:gd name="T11" fmla="*/ 116 h 132"/>
                <a:gd name="T12" fmla="*/ 0 w 66"/>
                <a:gd name="T13" fmla="*/ 112 h 132"/>
                <a:gd name="T14" fmla="*/ 6 w 66"/>
                <a:gd name="T15" fmla="*/ 98 h 132"/>
                <a:gd name="T16" fmla="*/ 8 w 66"/>
                <a:gd name="T17" fmla="*/ 96 h 132"/>
                <a:gd name="T18" fmla="*/ 10 w 66"/>
                <a:gd name="T19" fmla="*/ 98 h 132"/>
                <a:gd name="T20" fmla="*/ 16 w 66"/>
                <a:gd name="T21" fmla="*/ 100 h 132"/>
                <a:gd name="T22" fmla="*/ 28 w 66"/>
                <a:gd name="T23" fmla="*/ 72 h 132"/>
                <a:gd name="T24" fmla="*/ 26 w 66"/>
                <a:gd name="T25" fmla="*/ 72 h 132"/>
                <a:gd name="T26" fmla="*/ 10 w 66"/>
                <a:gd name="T27" fmla="*/ 62 h 132"/>
                <a:gd name="T28" fmla="*/ 2 w 66"/>
                <a:gd name="T29" fmla="*/ 48 h 132"/>
                <a:gd name="T30" fmla="*/ 0 w 66"/>
                <a:gd name="T31" fmla="*/ 42 h 132"/>
                <a:gd name="T32" fmla="*/ 6 w 66"/>
                <a:gd name="T33" fmla="*/ 22 h 132"/>
                <a:gd name="T34" fmla="*/ 12 w 66"/>
                <a:gd name="T35" fmla="*/ 18 h 132"/>
                <a:gd name="T36" fmla="*/ 28 w 66"/>
                <a:gd name="T37" fmla="*/ 12 h 132"/>
                <a:gd name="T38" fmla="*/ 28 w 66"/>
                <a:gd name="T39" fmla="*/ 4 h 132"/>
                <a:gd name="T40" fmla="*/ 32 w 66"/>
                <a:gd name="T41" fmla="*/ 0 h 132"/>
                <a:gd name="T42" fmla="*/ 36 w 66"/>
                <a:gd name="T43" fmla="*/ 0 h 132"/>
                <a:gd name="T44" fmla="*/ 38 w 66"/>
                <a:gd name="T45" fmla="*/ 4 h 132"/>
                <a:gd name="T46" fmla="*/ 38 w 66"/>
                <a:gd name="T47" fmla="*/ 12 h 132"/>
                <a:gd name="T48" fmla="*/ 62 w 66"/>
                <a:gd name="T49" fmla="*/ 18 h 132"/>
                <a:gd name="T50" fmla="*/ 62 w 66"/>
                <a:gd name="T51" fmla="*/ 18 h 132"/>
                <a:gd name="T52" fmla="*/ 64 w 66"/>
                <a:gd name="T53" fmla="*/ 22 h 132"/>
                <a:gd name="T54" fmla="*/ 58 w 66"/>
                <a:gd name="T55" fmla="*/ 34 h 132"/>
                <a:gd name="T56" fmla="*/ 56 w 66"/>
                <a:gd name="T57" fmla="*/ 34 h 132"/>
                <a:gd name="T58" fmla="*/ 54 w 66"/>
                <a:gd name="T59" fmla="*/ 32 h 132"/>
                <a:gd name="T60" fmla="*/ 38 w 66"/>
                <a:gd name="T61" fmla="*/ 28 h 132"/>
                <a:gd name="T62" fmla="*/ 42 w 66"/>
                <a:gd name="T63" fmla="*/ 58 h 132"/>
                <a:gd name="T64" fmla="*/ 52 w 66"/>
                <a:gd name="T65" fmla="*/ 64 h 132"/>
                <a:gd name="T66" fmla="*/ 64 w 66"/>
                <a:gd name="T67" fmla="*/ 78 h 132"/>
                <a:gd name="T68" fmla="*/ 66 w 66"/>
                <a:gd name="T69" fmla="*/ 90 h 132"/>
                <a:gd name="T70" fmla="*/ 60 w 66"/>
                <a:gd name="T71" fmla="*/ 110 h 132"/>
                <a:gd name="T72" fmla="*/ 38 w 66"/>
                <a:gd name="T73" fmla="*/ 122 h 132"/>
                <a:gd name="T74" fmla="*/ 30 w 66"/>
                <a:gd name="T75" fmla="*/ 28 h 132"/>
                <a:gd name="T76" fmla="*/ 26 w 66"/>
                <a:gd name="T77" fmla="*/ 28 h 132"/>
                <a:gd name="T78" fmla="*/ 22 w 66"/>
                <a:gd name="T79" fmla="*/ 32 h 132"/>
                <a:gd name="T80" fmla="*/ 20 w 66"/>
                <a:gd name="T81" fmla="*/ 40 h 132"/>
                <a:gd name="T82" fmla="*/ 20 w 66"/>
                <a:gd name="T83" fmla="*/ 44 h 132"/>
                <a:gd name="T84" fmla="*/ 26 w 66"/>
                <a:gd name="T85" fmla="*/ 52 h 132"/>
                <a:gd name="T86" fmla="*/ 30 w 66"/>
                <a:gd name="T87" fmla="*/ 28 h 132"/>
                <a:gd name="T88" fmla="*/ 38 w 66"/>
                <a:gd name="T89" fmla="*/ 104 h 132"/>
                <a:gd name="T90" fmla="*/ 48 w 66"/>
                <a:gd name="T91" fmla="*/ 98 h 132"/>
                <a:gd name="T92" fmla="*/ 48 w 66"/>
                <a:gd name="T93" fmla="*/ 92 h 132"/>
                <a:gd name="T94" fmla="*/ 44 w 66"/>
                <a:gd name="T95" fmla="*/ 80 h 132"/>
                <a:gd name="T96" fmla="*/ 38 w 66"/>
                <a:gd name="T97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32">
                  <a:moveTo>
                    <a:pt x="38" y="128"/>
                  </a:moveTo>
                  <a:lnTo>
                    <a:pt x="38" y="128"/>
                  </a:lnTo>
                  <a:lnTo>
                    <a:pt x="38" y="130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0" y="130"/>
                  </a:lnTo>
                  <a:lnTo>
                    <a:pt x="28" y="128"/>
                  </a:lnTo>
                  <a:lnTo>
                    <a:pt x="28" y="122"/>
                  </a:lnTo>
                  <a:lnTo>
                    <a:pt x="28" y="122"/>
                  </a:lnTo>
                  <a:lnTo>
                    <a:pt x="1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0" y="112"/>
                  </a:lnTo>
                  <a:lnTo>
                    <a:pt x="2" y="112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6" y="100"/>
                  </a:lnTo>
                  <a:lnTo>
                    <a:pt x="28" y="104"/>
                  </a:lnTo>
                  <a:lnTo>
                    <a:pt x="28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8" y="68"/>
                  </a:lnTo>
                  <a:lnTo>
                    <a:pt x="10" y="62"/>
                  </a:lnTo>
                  <a:lnTo>
                    <a:pt x="4" y="54"/>
                  </a:lnTo>
                  <a:lnTo>
                    <a:pt x="2" y="48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12" y="18"/>
                  </a:lnTo>
                  <a:lnTo>
                    <a:pt x="16" y="14"/>
                  </a:lnTo>
                  <a:lnTo>
                    <a:pt x="28" y="12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2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54" y="14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48" y="30"/>
                  </a:lnTo>
                  <a:lnTo>
                    <a:pt x="38" y="2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52" y="64"/>
                  </a:lnTo>
                  <a:lnTo>
                    <a:pt x="60" y="70"/>
                  </a:lnTo>
                  <a:lnTo>
                    <a:pt x="64" y="78"/>
                  </a:lnTo>
                  <a:lnTo>
                    <a:pt x="66" y="90"/>
                  </a:lnTo>
                  <a:lnTo>
                    <a:pt x="66" y="90"/>
                  </a:lnTo>
                  <a:lnTo>
                    <a:pt x="64" y="102"/>
                  </a:lnTo>
                  <a:lnTo>
                    <a:pt x="60" y="110"/>
                  </a:lnTo>
                  <a:lnTo>
                    <a:pt x="50" y="118"/>
                  </a:lnTo>
                  <a:lnTo>
                    <a:pt x="38" y="122"/>
                  </a:lnTo>
                  <a:lnTo>
                    <a:pt x="38" y="128"/>
                  </a:lnTo>
                  <a:close/>
                  <a:moveTo>
                    <a:pt x="30" y="28"/>
                  </a:moveTo>
                  <a:lnTo>
                    <a:pt x="30" y="28"/>
                  </a:lnTo>
                  <a:lnTo>
                    <a:pt x="26" y="28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2" y="48"/>
                  </a:lnTo>
                  <a:lnTo>
                    <a:pt x="26" y="52"/>
                  </a:lnTo>
                  <a:lnTo>
                    <a:pt x="30" y="54"/>
                  </a:lnTo>
                  <a:lnTo>
                    <a:pt x="30" y="28"/>
                  </a:lnTo>
                  <a:close/>
                  <a:moveTo>
                    <a:pt x="38" y="104"/>
                  </a:moveTo>
                  <a:lnTo>
                    <a:pt x="38" y="104"/>
                  </a:lnTo>
                  <a:lnTo>
                    <a:pt x="44" y="100"/>
                  </a:lnTo>
                  <a:lnTo>
                    <a:pt x="48" y="98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86"/>
                  </a:lnTo>
                  <a:lnTo>
                    <a:pt x="44" y="8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104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Freeform 805"/>
            <p:cNvSpPr>
              <a:spLocks noEditPoints="1"/>
            </p:cNvSpPr>
            <p:nvPr/>
          </p:nvSpPr>
          <p:spPr bwMode="auto">
            <a:xfrm>
              <a:off x="5922888" y="5393246"/>
              <a:ext cx="50800" cy="101600"/>
            </a:xfrm>
            <a:custGeom>
              <a:avLst/>
              <a:gdLst>
                <a:gd name="T0" fmla="*/ 20 w 32"/>
                <a:gd name="T1" fmla="*/ 62 h 64"/>
                <a:gd name="T2" fmla="*/ 18 w 32"/>
                <a:gd name="T3" fmla="*/ 64 h 64"/>
                <a:gd name="T4" fmla="*/ 16 w 32"/>
                <a:gd name="T5" fmla="*/ 64 h 64"/>
                <a:gd name="T6" fmla="*/ 14 w 32"/>
                <a:gd name="T7" fmla="*/ 62 h 64"/>
                <a:gd name="T8" fmla="*/ 14 w 32"/>
                <a:gd name="T9" fmla="*/ 58 h 64"/>
                <a:gd name="T10" fmla="*/ 2 w 32"/>
                <a:gd name="T11" fmla="*/ 56 h 64"/>
                <a:gd name="T12" fmla="*/ 2 w 32"/>
                <a:gd name="T13" fmla="*/ 54 h 64"/>
                <a:gd name="T14" fmla="*/ 4 w 32"/>
                <a:gd name="T15" fmla="*/ 46 h 64"/>
                <a:gd name="T16" fmla="*/ 6 w 32"/>
                <a:gd name="T17" fmla="*/ 46 h 64"/>
                <a:gd name="T18" fmla="*/ 14 w 32"/>
                <a:gd name="T19" fmla="*/ 50 h 64"/>
                <a:gd name="T20" fmla="*/ 12 w 32"/>
                <a:gd name="T21" fmla="*/ 34 h 64"/>
                <a:gd name="T22" fmla="*/ 6 w 32"/>
                <a:gd name="T23" fmla="*/ 30 h 64"/>
                <a:gd name="T24" fmla="*/ 0 w 32"/>
                <a:gd name="T25" fmla="*/ 20 h 64"/>
                <a:gd name="T26" fmla="*/ 2 w 32"/>
                <a:gd name="T27" fmla="*/ 16 h 64"/>
                <a:gd name="T28" fmla="*/ 4 w 32"/>
                <a:gd name="T29" fmla="*/ 12 h 64"/>
                <a:gd name="T30" fmla="*/ 14 w 32"/>
                <a:gd name="T31" fmla="*/ 6 h 64"/>
                <a:gd name="T32" fmla="*/ 14 w 32"/>
                <a:gd name="T33" fmla="*/ 2 h 64"/>
                <a:gd name="T34" fmla="*/ 16 w 32"/>
                <a:gd name="T35" fmla="*/ 0 h 64"/>
                <a:gd name="T36" fmla="*/ 18 w 32"/>
                <a:gd name="T37" fmla="*/ 0 h 64"/>
                <a:gd name="T38" fmla="*/ 20 w 32"/>
                <a:gd name="T39" fmla="*/ 2 h 64"/>
                <a:gd name="T40" fmla="*/ 20 w 32"/>
                <a:gd name="T41" fmla="*/ 6 h 64"/>
                <a:gd name="T42" fmla="*/ 30 w 32"/>
                <a:gd name="T43" fmla="*/ 8 h 64"/>
                <a:gd name="T44" fmla="*/ 30 w 32"/>
                <a:gd name="T45" fmla="*/ 10 h 64"/>
                <a:gd name="T46" fmla="*/ 28 w 32"/>
                <a:gd name="T47" fmla="*/ 16 h 64"/>
                <a:gd name="T48" fmla="*/ 28 w 32"/>
                <a:gd name="T49" fmla="*/ 16 h 64"/>
                <a:gd name="T50" fmla="*/ 26 w 32"/>
                <a:gd name="T51" fmla="*/ 16 h 64"/>
                <a:gd name="T52" fmla="*/ 20 w 32"/>
                <a:gd name="T53" fmla="*/ 28 h 64"/>
                <a:gd name="T54" fmla="*/ 20 w 32"/>
                <a:gd name="T55" fmla="*/ 28 h 64"/>
                <a:gd name="T56" fmla="*/ 32 w 32"/>
                <a:gd name="T57" fmla="*/ 38 h 64"/>
                <a:gd name="T58" fmla="*/ 32 w 32"/>
                <a:gd name="T59" fmla="*/ 44 h 64"/>
                <a:gd name="T60" fmla="*/ 28 w 32"/>
                <a:gd name="T61" fmla="*/ 54 h 64"/>
                <a:gd name="T62" fmla="*/ 20 w 32"/>
                <a:gd name="T63" fmla="*/ 58 h 64"/>
                <a:gd name="T64" fmla="*/ 14 w 32"/>
                <a:gd name="T65" fmla="*/ 14 h 64"/>
                <a:gd name="T66" fmla="*/ 12 w 32"/>
                <a:gd name="T67" fmla="*/ 16 h 64"/>
                <a:gd name="T68" fmla="*/ 10 w 32"/>
                <a:gd name="T69" fmla="*/ 20 h 64"/>
                <a:gd name="T70" fmla="*/ 12 w 32"/>
                <a:gd name="T71" fmla="*/ 24 h 64"/>
                <a:gd name="T72" fmla="*/ 14 w 32"/>
                <a:gd name="T73" fmla="*/ 14 h 64"/>
                <a:gd name="T74" fmla="*/ 18 w 32"/>
                <a:gd name="T75" fmla="*/ 50 h 64"/>
                <a:gd name="T76" fmla="*/ 22 w 32"/>
                <a:gd name="T77" fmla="*/ 46 h 64"/>
                <a:gd name="T78" fmla="*/ 24 w 32"/>
                <a:gd name="T79" fmla="*/ 44 h 64"/>
                <a:gd name="T80" fmla="*/ 22 w 32"/>
                <a:gd name="T81" fmla="*/ 38 h 64"/>
                <a:gd name="T82" fmla="*/ 18 w 32"/>
                <a:gd name="T83" fmla="*/ 3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" h="64">
                  <a:moveTo>
                    <a:pt x="20" y="62"/>
                  </a:moveTo>
                  <a:lnTo>
                    <a:pt x="20" y="62"/>
                  </a:lnTo>
                  <a:lnTo>
                    <a:pt x="18" y="62"/>
                  </a:lnTo>
                  <a:lnTo>
                    <a:pt x="18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6" y="58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8" y="48"/>
                  </a:lnTo>
                  <a:lnTo>
                    <a:pt x="14" y="50"/>
                  </a:lnTo>
                  <a:lnTo>
                    <a:pt x="14" y="36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6" y="30"/>
                  </a:lnTo>
                  <a:lnTo>
                    <a:pt x="2" y="2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4" y="6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0" y="1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8" y="34"/>
                  </a:lnTo>
                  <a:lnTo>
                    <a:pt x="32" y="3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8"/>
                  </a:lnTo>
                  <a:lnTo>
                    <a:pt x="28" y="54"/>
                  </a:lnTo>
                  <a:lnTo>
                    <a:pt x="24" y="56"/>
                  </a:lnTo>
                  <a:lnTo>
                    <a:pt x="20" y="58"/>
                  </a:lnTo>
                  <a:lnTo>
                    <a:pt x="20" y="62"/>
                  </a:lnTo>
                  <a:close/>
                  <a:moveTo>
                    <a:pt x="14" y="14"/>
                  </a:moveTo>
                  <a:lnTo>
                    <a:pt x="14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2" y="24"/>
                  </a:lnTo>
                  <a:lnTo>
                    <a:pt x="14" y="26"/>
                  </a:lnTo>
                  <a:lnTo>
                    <a:pt x="14" y="14"/>
                  </a:lnTo>
                  <a:close/>
                  <a:moveTo>
                    <a:pt x="18" y="50"/>
                  </a:moveTo>
                  <a:lnTo>
                    <a:pt x="18" y="50"/>
                  </a:lnTo>
                  <a:lnTo>
                    <a:pt x="22" y="48"/>
                  </a:lnTo>
                  <a:lnTo>
                    <a:pt x="22" y="46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2" y="38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50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Freeform 806"/>
            <p:cNvSpPr>
              <a:spLocks noEditPoints="1"/>
            </p:cNvSpPr>
            <p:nvPr/>
          </p:nvSpPr>
          <p:spPr bwMode="auto">
            <a:xfrm>
              <a:off x="6161013" y="5266246"/>
              <a:ext cx="50800" cy="98425"/>
            </a:xfrm>
            <a:custGeom>
              <a:avLst/>
              <a:gdLst>
                <a:gd name="T0" fmla="*/ 18 w 32"/>
                <a:gd name="T1" fmla="*/ 60 h 62"/>
                <a:gd name="T2" fmla="*/ 16 w 32"/>
                <a:gd name="T3" fmla="*/ 62 h 62"/>
                <a:gd name="T4" fmla="*/ 16 w 32"/>
                <a:gd name="T5" fmla="*/ 62 h 62"/>
                <a:gd name="T6" fmla="*/ 14 w 32"/>
                <a:gd name="T7" fmla="*/ 60 h 62"/>
                <a:gd name="T8" fmla="*/ 14 w 32"/>
                <a:gd name="T9" fmla="*/ 56 h 62"/>
                <a:gd name="T10" fmla="*/ 2 w 32"/>
                <a:gd name="T11" fmla="*/ 54 h 62"/>
                <a:gd name="T12" fmla="*/ 0 w 32"/>
                <a:gd name="T13" fmla="*/ 52 h 62"/>
                <a:gd name="T14" fmla="*/ 4 w 32"/>
                <a:gd name="T15" fmla="*/ 46 h 62"/>
                <a:gd name="T16" fmla="*/ 4 w 32"/>
                <a:gd name="T17" fmla="*/ 46 h 62"/>
                <a:gd name="T18" fmla="*/ 14 w 32"/>
                <a:gd name="T19" fmla="*/ 48 h 62"/>
                <a:gd name="T20" fmla="*/ 12 w 32"/>
                <a:gd name="T21" fmla="*/ 34 h 62"/>
                <a:gd name="T22" fmla="*/ 4 w 32"/>
                <a:gd name="T23" fmla="*/ 28 h 62"/>
                <a:gd name="T24" fmla="*/ 0 w 32"/>
                <a:gd name="T25" fmla="*/ 20 h 62"/>
                <a:gd name="T26" fmla="*/ 2 w 32"/>
                <a:gd name="T27" fmla="*/ 14 h 62"/>
                <a:gd name="T28" fmla="*/ 4 w 32"/>
                <a:gd name="T29" fmla="*/ 10 h 62"/>
                <a:gd name="T30" fmla="*/ 14 w 32"/>
                <a:gd name="T31" fmla="*/ 4 h 62"/>
                <a:gd name="T32" fmla="*/ 14 w 32"/>
                <a:gd name="T33" fmla="*/ 0 h 62"/>
                <a:gd name="T34" fmla="*/ 16 w 32"/>
                <a:gd name="T35" fmla="*/ 0 h 62"/>
                <a:gd name="T36" fmla="*/ 16 w 32"/>
                <a:gd name="T37" fmla="*/ 0 h 62"/>
                <a:gd name="T38" fmla="*/ 18 w 32"/>
                <a:gd name="T39" fmla="*/ 0 h 62"/>
                <a:gd name="T40" fmla="*/ 18 w 32"/>
                <a:gd name="T41" fmla="*/ 4 h 62"/>
                <a:gd name="T42" fmla="*/ 30 w 32"/>
                <a:gd name="T43" fmla="*/ 8 h 62"/>
                <a:gd name="T44" fmla="*/ 30 w 32"/>
                <a:gd name="T45" fmla="*/ 10 h 62"/>
                <a:gd name="T46" fmla="*/ 28 w 32"/>
                <a:gd name="T47" fmla="*/ 14 h 62"/>
                <a:gd name="T48" fmla="*/ 26 w 32"/>
                <a:gd name="T49" fmla="*/ 16 h 62"/>
                <a:gd name="T50" fmla="*/ 26 w 32"/>
                <a:gd name="T51" fmla="*/ 14 h 62"/>
                <a:gd name="T52" fmla="*/ 18 w 32"/>
                <a:gd name="T53" fmla="*/ 26 h 62"/>
                <a:gd name="T54" fmla="*/ 20 w 32"/>
                <a:gd name="T55" fmla="*/ 28 h 62"/>
                <a:gd name="T56" fmla="*/ 30 w 32"/>
                <a:gd name="T57" fmla="*/ 36 h 62"/>
                <a:gd name="T58" fmla="*/ 32 w 32"/>
                <a:gd name="T59" fmla="*/ 42 h 62"/>
                <a:gd name="T60" fmla="*/ 28 w 32"/>
                <a:gd name="T61" fmla="*/ 52 h 62"/>
                <a:gd name="T62" fmla="*/ 18 w 32"/>
                <a:gd name="T63" fmla="*/ 56 h 62"/>
                <a:gd name="T64" fmla="*/ 14 w 32"/>
                <a:gd name="T65" fmla="*/ 12 h 62"/>
                <a:gd name="T66" fmla="*/ 10 w 32"/>
                <a:gd name="T67" fmla="*/ 14 h 62"/>
                <a:gd name="T68" fmla="*/ 10 w 32"/>
                <a:gd name="T69" fmla="*/ 18 h 62"/>
                <a:gd name="T70" fmla="*/ 10 w 32"/>
                <a:gd name="T71" fmla="*/ 22 h 62"/>
                <a:gd name="T72" fmla="*/ 14 w 32"/>
                <a:gd name="T73" fmla="*/ 12 h 62"/>
                <a:gd name="T74" fmla="*/ 18 w 32"/>
                <a:gd name="T75" fmla="*/ 48 h 62"/>
                <a:gd name="T76" fmla="*/ 22 w 32"/>
                <a:gd name="T77" fmla="*/ 46 h 62"/>
                <a:gd name="T78" fmla="*/ 22 w 32"/>
                <a:gd name="T79" fmla="*/ 42 h 62"/>
                <a:gd name="T80" fmla="*/ 20 w 32"/>
                <a:gd name="T81" fmla="*/ 38 h 62"/>
                <a:gd name="T82" fmla="*/ 18 w 32"/>
                <a:gd name="T83" fmla="*/ 3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" h="62">
                  <a:moveTo>
                    <a:pt x="18" y="60"/>
                  </a:moveTo>
                  <a:lnTo>
                    <a:pt x="18" y="60"/>
                  </a:lnTo>
                  <a:lnTo>
                    <a:pt x="18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4" y="62"/>
                  </a:lnTo>
                  <a:lnTo>
                    <a:pt x="14" y="60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6" y="56"/>
                  </a:lnTo>
                  <a:lnTo>
                    <a:pt x="2" y="54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14" y="48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4" y="28"/>
                  </a:lnTo>
                  <a:lnTo>
                    <a:pt x="2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8" y="6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26" y="6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14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18" y="12"/>
                  </a:lnTo>
                  <a:lnTo>
                    <a:pt x="18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8" y="32"/>
                  </a:lnTo>
                  <a:lnTo>
                    <a:pt x="30" y="36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0" y="48"/>
                  </a:lnTo>
                  <a:lnTo>
                    <a:pt x="28" y="52"/>
                  </a:lnTo>
                  <a:lnTo>
                    <a:pt x="24" y="56"/>
                  </a:lnTo>
                  <a:lnTo>
                    <a:pt x="18" y="56"/>
                  </a:lnTo>
                  <a:lnTo>
                    <a:pt x="18" y="60"/>
                  </a:lnTo>
                  <a:close/>
                  <a:moveTo>
                    <a:pt x="14" y="12"/>
                  </a:moveTo>
                  <a:lnTo>
                    <a:pt x="14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14" y="24"/>
                  </a:lnTo>
                  <a:lnTo>
                    <a:pt x="14" y="12"/>
                  </a:lnTo>
                  <a:close/>
                  <a:moveTo>
                    <a:pt x="18" y="48"/>
                  </a:moveTo>
                  <a:lnTo>
                    <a:pt x="18" y="48"/>
                  </a:lnTo>
                  <a:lnTo>
                    <a:pt x="20" y="48"/>
                  </a:lnTo>
                  <a:lnTo>
                    <a:pt x="22" y="46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0"/>
                  </a:lnTo>
                  <a:lnTo>
                    <a:pt x="20" y="38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48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" name="Freeform 807"/>
            <p:cNvSpPr>
              <a:spLocks noEditPoints="1"/>
            </p:cNvSpPr>
            <p:nvPr/>
          </p:nvSpPr>
          <p:spPr bwMode="auto">
            <a:xfrm>
              <a:off x="6430888" y="5383721"/>
              <a:ext cx="139700" cy="279400"/>
            </a:xfrm>
            <a:custGeom>
              <a:avLst/>
              <a:gdLst>
                <a:gd name="T0" fmla="*/ 50 w 88"/>
                <a:gd name="T1" fmla="*/ 172 h 176"/>
                <a:gd name="T2" fmla="*/ 48 w 88"/>
                <a:gd name="T3" fmla="*/ 176 h 176"/>
                <a:gd name="T4" fmla="*/ 42 w 88"/>
                <a:gd name="T5" fmla="*/ 176 h 176"/>
                <a:gd name="T6" fmla="*/ 38 w 88"/>
                <a:gd name="T7" fmla="*/ 176 h 176"/>
                <a:gd name="T8" fmla="*/ 36 w 88"/>
                <a:gd name="T9" fmla="*/ 172 h 176"/>
                <a:gd name="T10" fmla="*/ 36 w 88"/>
                <a:gd name="T11" fmla="*/ 162 h 176"/>
                <a:gd name="T12" fmla="*/ 16 w 88"/>
                <a:gd name="T13" fmla="*/ 160 h 176"/>
                <a:gd name="T14" fmla="*/ 2 w 88"/>
                <a:gd name="T15" fmla="*/ 154 h 176"/>
                <a:gd name="T16" fmla="*/ 0 w 88"/>
                <a:gd name="T17" fmla="*/ 150 h 176"/>
                <a:gd name="T18" fmla="*/ 6 w 88"/>
                <a:gd name="T19" fmla="*/ 130 h 176"/>
                <a:gd name="T20" fmla="*/ 8 w 88"/>
                <a:gd name="T21" fmla="*/ 130 h 176"/>
                <a:gd name="T22" fmla="*/ 10 w 88"/>
                <a:gd name="T23" fmla="*/ 130 h 176"/>
                <a:gd name="T24" fmla="*/ 20 w 88"/>
                <a:gd name="T25" fmla="*/ 134 h 176"/>
                <a:gd name="T26" fmla="*/ 36 w 88"/>
                <a:gd name="T27" fmla="*/ 138 h 176"/>
                <a:gd name="T28" fmla="*/ 32 w 88"/>
                <a:gd name="T29" fmla="*/ 96 h 176"/>
                <a:gd name="T30" fmla="*/ 22 w 88"/>
                <a:gd name="T31" fmla="*/ 90 h 176"/>
                <a:gd name="T32" fmla="*/ 6 w 88"/>
                <a:gd name="T33" fmla="*/ 78 h 176"/>
                <a:gd name="T34" fmla="*/ 0 w 88"/>
                <a:gd name="T35" fmla="*/ 64 h 176"/>
                <a:gd name="T36" fmla="*/ 0 w 88"/>
                <a:gd name="T37" fmla="*/ 56 h 176"/>
                <a:gd name="T38" fmla="*/ 2 w 88"/>
                <a:gd name="T39" fmla="*/ 40 h 176"/>
                <a:gd name="T40" fmla="*/ 8 w 88"/>
                <a:gd name="T41" fmla="*/ 30 h 176"/>
                <a:gd name="T42" fmla="*/ 20 w 88"/>
                <a:gd name="T43" fmla="*/ 20 h 176"/>
                <a:gd name="T44" fmla="*/ 36 w 88"/>
                <a:gd name="T45" fmla="*/ 14 h 176"/>
                <a:gd name="T46" fmla="*/ 36 w 88"/>
                <a:gd name="T47" fmla="*/ 4 h 176"/>
                <a:gd name="T48" fmla="*/ 38 w 88"/>
                <a:gd name="T49" fmla="*/ 0 h 176"/>
                <a:gd name="T50" fmla="*/ 46 w 88"/>
                <a:gd name="T51" fmla="*/ 0 h 176"/>
                <a:gd name="T52" fmla="*/ 48 w 88"/>
                <a:gd name="T53" fmla="*/ 0 h 176"/>
                <a:gd name="T54" fmla="*/ 50 w 88"/>
                <a:gd name="T55" fmla="*/ 4 h 176"/>
                <a:gd name="T56" fmla="*/ 50 w 88"/>
                <a:gd name="T57" fmla="*/ 14 h 176"/>
                <a:gd name="T58" fmla="*/ 70 w 88"/>
                <a:gd name="T59" fmla="*/ 18 h 176"/>
                <a:gd name="T60" fmla="*/ 80 w 88"/>
                <a:gd name="T61" fmla="*/ 22 h 176"/>
                <a:gd name="T62" fmla="*/ 84 w 88"/>
                <a:gd name="T63" fmla="*/ 28 h 176"/>
                <a:gd name="T64" fmla="*/ 84 w 88"/>
                <a:gd name="T65" fmla="*/ 30 h 176"/>
                <a:gd name="T66" fmla="*/ 76 w 88"/>
                <a:gd name="T67" fmla="*/ 44 h 176"/>
                <a:gd name="T68" fmla="*/ 74 w 88"/>
                <a:gd name="T69" fmla="*/ 46 h 176"/>
                <a:gd name="T70" fmla="*/ 70 w 88"/>
                <a:gd name="T71" fmla="*/ 44 h 176"/>
                <a:gd name="T72" fmla="*/ 62 w 88"/>
                <a:gd name="T73" fmla="*/ 40 h 176"/>
                <a:gd name="T74" fmla="*/ 50 w 88"/>
                <a:gd name="T75" fmla="*/ 76 h 176"/>
                <a:gd name="T76" fmla="*/ 54 w 88"/>
                <a:gd name="T77" fmla="*/ 78 h 176"/>
                <a:gd name="T78" fmla="*/ 78 w 88"/>
                <a:gd name="T79" fmla="*/ 94 h 176"/>
                <a:gd name="T80" fmla="*/ 84 w 88"/>
                <a:gd name="T81" fmla="*/ 106 h 176"/>
                <a:gd name="T82" fmla="*/ 88 w 88"/>
                <a:gd name="T83" fmla="*/ 120 h 176"/>
                <a:gd name="T84" fmla="*/ 88 w 88"/>
                <a:gd name="T85" fmla="*/ 128 h 176"/>
                <a:gd name="T86" fmla="*/ 82 w 88"/>
                <a:gd name="T87" fmla="*/ 142 h 176"/>
                <a:gd name="T88" fmla="*/ 72 w 88"/>
                <a:gd name="T89" fmla="*/ 152 h 176"/>
                <a:gd name="T90" fmla="*/ 58 w 88"/>
                <a:gd name="T91" fmla="*/ 160 h 176"/>
                <a:gd name="T92" fmla="*/ 50 w 88"/>
                <a:gd name="T93" fmla="*/ 172 h 176"/>
                <a:gd name="T94" fmla="*/ 38 w 88"/>
                <a:gd name="T95" fmla="*/ 36 h 176"/>
                <a:gd name="T96" fmla="*/ 28 w 88"/>
                <a:gd name="T97" fmla="*/ 42 h 176"/>
                <a:gd name="T98" fmla="*/ 24 w 88"/>
                <a:gd name="T99" fmla="*/ 48 h 176"/>
                <a:gd name="T100" fmla="*/ 24 w 88"/>
                <a:gd name="T101" fmla="*/ 54 h 176"/>
                <a:gd name="T102" fmla="*/ 28 w 88"/>
                <a:gd name="T103" fmla="*/ 64 h 176"/>
                <a:gd name="T104" fmla="*/ 38 w 88"/>
                <a:gd name="T105" fmla="*/ 72 h 176"/>
                <a:gd name="T106" fmla="*/ 48 w 88"/>
                <a:gd name="T107" fmla="*/ 138 h 176"/>
                <a:gd name="T108" fmla="*/ 52 w 88"/>
                <a:gd name="T109" fmla="*/ 138 h 176"/>
                <a:gd name="T110" fmla="*/ 62 w 88"/>
                <a:gd name="T111" fmla="*/ 130 h 176"/>
                <a:gd name="T112" fmla="*/ 64 w 88"/>
                <a:gd name="T113" fmla="*/ 122 h 176"/>
                <a:gd name="T114" fmla="*/ 58 w 88"/>
                <a:gd name="T115" fmla="*/ 108 h 176"/>
                <a:gd name="T116" fmla="*/ 50 w 88"/>
                <a:gd name="T117" fmla="*/ 102 h 176"/>
                <a:gd name="T118" fmla="*/ 48 w 88"/>
                <a:gd name="T119" fmla="*/ 13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176">
                  <a:moveTo>
                    <a:pt x="50" y="172"/>
                  </a:moveTo>
                  <a:lnTo>
                    <a:pt x="50" y="172"/>
                  </a:lnTo>
                  <a:lnTo>
                    <a:pt x="50" y="174"/>
                  </a:lnTo>
                  <a:lnTo>
                    <a:pt x="48" y="176"/>
                  </a:lnTo>
                  <a:lnTo>
                    <a:pt x="46" y="176"/>
                  </a:lnTo>
                  <a:lnTo>
                    <a:pt x="42" y="176"/>
                  </a:lnTo>
                  <a:lnTo>
                    <a:pt x="42" y="176"/>
                  </a:lnTo>
                  <a:lnTo>
                    <a:pt x="38" y="176"/>
                  </a:lnTo>
                  <a:lnTo>
                    <a:pt x="38" y="174"/>
                  </a:lnTo>
                  <a:lnTo>
                    <a:pt x="36" y="17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26" y="162"/>
                  </a:lnTo>
                  <a:lnTo>
                    <a:pt x="16" y="160"/>
                  </a:lnTo>
                  <a:lnTo>
                    <a:pt x="2" y="154"/>
                  </a:lnTo>
                  <a:lnTo>
                    <a:pt x="2" y="154"/>
                  </a:lnTo>
                  <a:lnTo>
                    <a:pt x="0" y="152"/>
                  </a:lnTo>
                  <a:lnTo>
                    <a:pt x="0" y="150"/>
                  </a:lnTo>
                  <a:lnTo>
                    <a:pt x="0" y="148"/>
                  </a:lnTo>
                  <a:lnTo>
                    <a:pt x="6" y="130"/>
                  </a:lnTo>
                  <a:lnTo>
                    <a:pt x="6" y="130"/>
                  </a:lnTo>
                  <a:lnTo>
                    <a:pt x="8" y="130"/>
                  </a:lnTo>
                  <a:lnTo>
                    <a:pt x="8" y="130"/>
                  </a:lnTo>
                  <a:lnTo>
                    <a:pt x="10" y="130"/>
                  </a:lnTo>
                  <a:lnTo>
                    <a:pt x="10" y="130"/>
                  </a:lnTo>
                  <a:lnTo>
                    <a:pt x="20" y="134"/>
                  </a:lnTo>
                  <a:lnTo>
                    <a:pt x="28" y="138"/>
                  </a:lnTo>
                  <a:lnTo>
                    <a:pt x="36" y="138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2" y="90"/>
                  </a:lnTo>
                  <a:lnTo>
                    <a:pt x="10" y="82"/>
                  </a:lnTo>
                  <a:lnTo>
                    <a:pt x="6" y="78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2" y="4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14" y="24"/>
                  </a:lnTo>
                  <a:lnTo>
                    <a:pt x="20" y="20"/>
                  </a:lnTo>
                  <a:lnTo>
                    <a:pt x="28" y="16"/>
                  </a:lnTo>
                  <a:lnTo>
                    <a:pt x="36" y="1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62" y="16"/>
                  </a:lnTo>
                  <a:lnTo>
                    <a:pt x="70" y="18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2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2" y="40"/>
                  </a:lnTo>
                  <a:lnTo>
                    <a:pt x="50" y="36"/>
                  </a:lnTo>
                  <a:lnTo>
                    <a:pt x="50" y="76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66" y="86"/>
                  </a:lnTo>
                  <a:lnTo>
                    <a:pt x="78" y="94"/>
                  </a:lnTo>
                  <a:lnTo>
                    <a:pt x="82" y="100"/>
                  </a:lnTo>
                  <a:lnTo>
                    <a:pt x="84" y="106"/>
                  </a:lnTo>
                  <a:lnTo>
                    <a:pt x="86" y="112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8" y="128"/>
                  </a:lnTo>
                  <a:lnTo>
                    <a:pt x="86" y="136"/>
                  </a:lnTo>
                  <a:lnTo>
                    <a:pt x="82" y="142"/>
                  </a:lnTo>
                  <a:lnTo>
                    <a:pt x="78" y="148"/>
                  </a:lnTo>
                  <a:lnTo>
                    <a:pt x="72" y="152"/>
                  </a:lnTo>
                  <a:lnTo>
                    <a:pt x="66" y="158"/>
                  </a:lnTo>
                  <a:lnTo>
                    <a:pt x="58" y="160"/>
                  </a:lnTo>
                  <a:lnTo>
                    <a:pt x="50" y="162"/>
                  </a:lnTo>
                  <a:lnTo>
                    <a:pt x="50" y="172"/>
                  </a:lnTo>
                  <a:close/>
                  <a:moveTo>
                    <a:pt x="38" y="36"/>
                  </a:moveTo>
                  <a:lnTo>
                    <a:pt x="38" y="36"/>
                  </a:lnTo>
                  <a:lnTo>
                    <a:pt x="34" y="38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4" y="48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8" y="64"/>
                  </a:lnTo>
                  <a:lnTo>
                    <a:pt x="32" y="68"/>
                  </a:lnTo>
                  <a:lnTo>
                    <a:pt x="38" y="72"/>
                  </a:lnTo>
                  <a:lnTo>
                    <a:pt x="38" y="36"/>
                  </a:lnTo>
                  <a:close/>
                  <a:moveTo>
                    <a:pt x="48" y="138"/>
                  </a:moveTo>
                  <a:lnTo>
                    <a:pt x="48" y="138"/>
                  </a:lnTo>
                  <a:lnTo>
                    <a:pt x="52" y="138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4" y="122"/>
                  </a:lnTo>
                  <a:lnTo>
                    <a:pt x="64" y="122"/>
                  </a:lnTo>
                  <a:lnTo>
                    <a:pt x="62" y="114"/>
                  </a:lnTo>
                  <a:lnTo>
                    <a:pt x="58" y="108"/>
                  </a:lnTo>
                  <a:lnTo>
                    <a:pt x="52" y="104"/>
                  </a:lnTo>
                  <a:lnTo>
                    <a:pt x="50" y="102"/>
                  </a:lnTo>
                  <a:lnTo>
                    <a:pt x="48" y="102"/>
                  </a:lnTo>
                  <a:lnTo>
                    <a:pt x="48" y="138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" name="Freeform 808"/>
            <p:cNvSpPr>
              <a:spLocks noEditPoints="1"/>
            </p:cNvSpPr>
            <p:nvPr/>
          </p:nvSpPr>
          <p:spPr bwMode="auto">
            <a:xfrm>
              <a:off x="5907013" y="5513896"/>
              <a:ext cx="155575" cy="314325"/>
            </a:xfrm>
            <a:custGeom>
              <a:avLst/>
              <a:gdLst>
                <a:gd name="T0" fmla="*/ 56 w 98"/>
                <a:gd name="T1" fmla="*/ 194 h 198"/>
                <a:gd name="T2" fmla="*/ 54 w 98"/>
                <a:gd name="T3" fmla="*/ 198 h 198"/>
                <a:gd name="T4" fmla="*/ 46 w 98"/>
                <a:gd name="T5" fmla="*/ 198 h 198"/>
                <a:gd name="T6" fmla="*/ 44 w 98"/>
                <a:gd name="T7" fmla="*/ 198 h 198"/>
                <a:gd name="T8" fmla="*/ 42 w 98"/>
                <a:gd name="T9" fmla="*/ 194 h 198"/>
                <a:gd name="T10" fmla="*/ 42 w 98"/>
                <a:gd name="T11" fmla="*/ 184 h 198"/>
                <a:gd name="T12" fmla="*/ 18 w 98"/>
                <a:gd name="T13" fmla="*/ 180 h 198"/>
                <a:gd name="T14" fmla="*/ 4 w 98"/>
                <a:gd name="T15" fmla="*/ 174 h 198"/>
                <a:gd name="T16" fmla="*/ 0 w 98"/>
                <a:gd name="T17" fmla="*/ 170 h 198"/>
                <a:gd name="T18" fmla="*/ 8 w 98"/>
                <a:gd name="T19" fmla="*/ 148 h 198"/>
                <a:gd name="T20" fmla="*/ 10 w 98"/>
                <a:gd name="T21" fmla="*/ 146 h 198"/>
                <a:gd name="T22" fmla="*/ 12 w 98"/>
                <a:gd name="T23" fmla="*/ 148 h 198"/>
                <a:gd name="T24" fmla="*/ 22 w 98"/>
                <a:gd name="T25" fmla="*/ 152 h 198"/>
                <a:gd name="T26" fmla="*/ 42 w 98"/>
                <a:gd name="T27" fmla="*/ 158 h 198"/>
                <a:gd name="T28" fmla="*/ 38 w 98"/>
                <a:gd name="T29" fmla="*/ 108 h 198"/>
                <a:gd name="T30" fmla="*/ 24 w 98"/>
                <a:gd name="T31" fmla="*/ 102 h 198"/>
                <a:gd name="T32" fmla="*/ 8 w 98"/>
                <a:gd name="T33" fmla="*/ 88 h 198"/>
                <a:gd name="T34" fmla="*/ 0 w 98"/>
                <a:gd name="T35" fmla="*/ 74 h 198"/>
                <a:gd name="T36" fmla="*/ 0 w 98"/>
                <a:gd name="T37" fmla="*/ 62 h 198"/>
                <a:gd name="T38" fmla="*/ 2 w 98"/>
                <a:gd name="T39" fmla="*/ 46 h 198"/>
                <a:gd name="T40" fmla="*/ 8 w 98"/>
                <a:gd name="T41" fmla="*/ 34 h 198"/>
                <a:gd name="T42" fmla="*/ 22 w 98"/>
                <a:gd name="T43" fmla="*/ 22 h 198"/>
                <a:gd name="T44" fmla="*/ 42 w 98"/>
                <a:gd name="T45" fmla="*/ 16 h 198"/>
                <a:gd name="T46" fmla="*/ 42 w 98"/>
                <a:gd name="T47" fmla="*/ 6 h 198"/>
                <a:gd name="T48" fmla="*/ 44 w 98"/>
                <a:gd name="T49" fmla="*/ 0 h 198"/>
                <a:gd name="T50" fmla="*/ 52 w 98"/>
                <a:gd name="T51" fmla="*/ 0 h 198"/>
                <a:gd name="T52" fmla="*/ 54 w 98"/>
                <a:gd name="T53" fmla="*/ 0 h 198"/>
                <a:gd name="T54" fmla="*/ 56 w 98"/>
                <a:gd name="T55" fmla="*/ 6 h 198"/>
                <a:gd name="T56" fmla="*/ 56 w 98"/>
                <a:gd name="T57" fmla="*/ 16 h 198"/>
                <a:gd name="T58" fmla="*/ 80 w 98"/>
                <a:gd name="T59" fmla="*/ 20 h 198"/>
                <a:gd name="T60" fmla="*/ 90 w 98"/>
                <a:gd name="T61" fmla="*/ 26 h 198"/>
                <a:gd name="T62" fmla="*/ 94 w 98"/>
                <a:gd name="T63" fmla="*/ 32 h 198"/>
                <a:gd name="T64" fmla="*/ 94 w 98"/>
                <a:gd name="T65" fmla="*/ 34 h 198"/>
                <a:gd name="T66" fmla="*/ 86 w 98"/>
                <a:gd name="T67" fmla="*/ 50 h 198"/>
                <a:gd name="T68" fmla="*/ 84 w 98"/>
                <a:gd name="T69" fmla="*/ 52 h 198"/>
                <a:gd name="T70" fmla="*/ 80 w 98"/>
                <a:gd name="T71" fmla="*/ 50 h 198"/>
                <a:gd name="T72" fmla="*/ 70 w 98"/>
                <a:gd name="T73" fmla="*/ 46 h 198"/>
                <a:gd name="T74" fmla="*/ 56 w 98"/>
                <a:gd name="T75" fmla="*/ 86 h 198"/>
                <a:gd name="T76" fmla="*/ 60 w 98"/>
                <a:gd name="T77" fmla="*/ 88 h 198"/>
                <a:gd name="T78" fmla="*/ 88 w 98"/>
                <a:gd name="T79" fmla="*/ 106 h 198"/>
                <a:gd name="T80" fmla="*/ 96 w 98"/>
                <a:gd name="T81" fmla="*/ 120 h 198"/>
                <a:gd name="T82" fmla="*/ 98 w 98"/>
                <a:gd name="T83" fmla="*/ 136 h 198"/>
                <a:gd name="T84" fmla="*/ 98 w 98"/>
                <a:gd name="T85" fmla="*/ 144 h 198"/>
                <a:gd name="T86" fmla="*/ 92 w 98"/>
                <a:gd name="T87" fmla="*/ 160 h 198"/>
                <a:gd name="T88" fmla="*/ 82 w 98"/>
                <a:gd name="T89" fmla="*/ 172 h 198"/>
                <a:gd name="T90" fmla="*/ 66 w 98"/>
                <a:gd name="T91" fmla="*/ 180 h 198"/>
                <a:gd name="T92" fmla="*/ 56 w 98"/>
                <a:gd name="T93" fmla="*/ 194 h 198"/>
                <a:gd name="T94" fmla="*/ 44 w 98"/>
                <a:gd name="T95" fmla="*/ 42 h 198"/>
                <a:gd name="T96" fmla="*/ 32 w 98"/>
                <a:gd name="T97" fmla="*/ 48 h 198"/>
                <a:gd name="T98" fmla="*/ 28 w 98"/>
                <a:gd name="T99" fmla="*/ 54 h 198"/>
                <a:gd name="T100" fmla="*/ 26 w 98"/>
                <a:gd name="T101" fmla="*/ 62 h 198"/>
                <a:gd name="T102" fmla="*/ 32 w 98"/>
                <a:gd name="T103" fmla="*/ 74 h 198"/>
                <a:gd name="T104" fmla="*/ 44 w 98"/>
                <a:gd name="T105" fmla="*/ 82 h 198"/>
                <a:gd name="T106" fmla="*/ 54 w 98"/>
                <a:gd name="T107" fmla="*/ 158 h 198"/>
                <a:gd name="T108" fmla="*/ 60 w 98"/>
                <a:gd name="T109" fmla="*/ 156 h 198"/>
                <a:gd name="T110" fmla="*/ 70 w 98"/>
                <a:gd name="T111" fmla="*/ 146 h 198"/>
                <a:gd name="T112" fmla="*/ 72 w 98"/>
                <a:gd name="T113" fmla="*/ 138 h 198"/>
                <a:gd name="T114" fmla="*/ 66 w 98"/>
                <a:gd name="T115" fmla="*/ 122 h 198"/>
                <a:gd name="T116" fmla="*/ 56 w 98"/>
                <a:gd name="T117" fmla="*/ 116 h 198"/>
                <a:gd name="T118" fmla="*/ 54 w 98"/>
                <a:gd name="T119" fmla="*/ 15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8" h="198">
                  <a:moveTo>
                    <a:pt x="56" y="194"/>
                  </a:moveTo>
                  <a:lnTo>
                    <a:pt x="56" y="194"/>
                  </a:lnTo>
                  <a:lnTo>
                    <a:pt x="56" y="198"/>
                  </a:lnTo>
                  <a:lnTo>
                    <a:pt x="54" y="198"/>
                  </a:lnTo>
                  <a:lnTo>
                    <a:pt x="52" y="198"/>
                  </a:lnTo>
                  <a:lnTo>
                    <a:pt x="46" y="198"/>
                  </a:lnTo>
                  <a:lnTo>
                    <a:pt x="46" y="198"/>
                  </a:lnTo>
                  <a:lnTo>
                    <a:pt x="44" y="198"/>
                  </a:lnTo>
                  <a:lnTo>
                    <a:pt x="42" y="198"/>
                  </a:lnTo>
                  <a:lnTo>
                    <a:pt x="42" y="194"/>
                  </a:lnTo>
                  <a:lnTo>
                    <a:pt x="42" y="184"/>
                  </a:lnTo>
                  <a:lnTo>
                    <a:pt x="42" y="184"/>
                  </a:lnTo>
                  <a:lnTo>
                    <a:pt x="30" y="182"/>
                  </a:lnTo>
                  <a:lnTo>
                    <a:pt x="18" y="180"/>
                  </a:lnTo>
                  <a:lnTo>
                    <a:pt x="4" y="174"/>
                  </a:lnTo>
                  <a:lnTo>
                    <a:pt x="4" y="174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12" y="148"/>
                  </a:lnTo>
                  <a:lnTo>
                    <a:pt x="12" y="148"/>
                  </a:lnTo>
                  <a:lnTo>
                    <a:pt x="22" y="152"/>
                  </a:lnTo>
                  <a:lnTo>
                    <a:pt x="32" y="156"/>
                  </a:lnTo>
                  <a:lnTo>
                    <a:pt x="42" y="158"/>
                  </a:lnTo>
                  <a:lnTo>
                    <a:pt x="42" y="110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24" y="102"/>
                  </a:lnTo>
                  <a:lnTo>
                    <a:pt x="12" y="94"/>
                  </a:lnTo>
                  <a:lnTo>
                    <a:pt x="8" y="88"/>
                  </a:lnTo>
                  <a:lnTo>
                    <a:pt x="2" y="82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4"/>
                  </a:lnTo>
                  <a:lnTo>
                    <a:pt x="2" y="4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6" y="28"/>
                  </a:lnTo>
                  <a:lnTo>
                    <a:pt x="22" y="22"/>
                  </a:lnTo>
                  <a:lnTo>
                    <a:pt x="32" y="20"/>
                  </a:lnTo>
                  <a:lnTo>
                    <a:pt x="42" y="1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2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4" y="0"/>
                  </a:lnTo>
                  <a:lnTo>
                    <a:pt x="56" y="2"/>
                  </a:lnTo>
                  <a:lnTo>
                    <a:pt x="56" y="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70" y="18"/>
                  </a:lnTo>
                  <a:lnTo>
                    <a:pt x="80" y="20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4" y="28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4" y="34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0" y="46"/>
                  </a:lnTo>
                  <a:lnTo>
                    <a:pt x="56" y="42"/>
                  </a:lnTo>
                  <a:lnTo>
                    <a:pt x="56" y="86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76" y="96"/>
                  </a:lnTo>
                  <a:lnTo>
                    <a:pt x="88" y="106"/>
                  </a:lnTo>
                  <a:lnTo>
                    <a:pt x="92" y="112"/>
                  </a:lnTo>
                  <a:lnTo>
                    <a:pt x="96" y="120"/>
                  </a:lnTo>
                  <a:lnTo>
                    <a:pt x="98" y="126"/>
                  </a:lnTo>
                  <a:lnTo>
                    <a:pt x="98" y="136"/>
                  </a:lnTo>
                  <a:lnTo>
                    <a:pt x="98" y="136"/>
                  </a:lnTo>
                  <a:lnTo>
                    <a:pt x="98" y="144"/>
                  </a:lnTo>
                  <a:lnTo>
                    <a:pt x="96" y="152"/>
                  </a:lnTo>
                  <a:lnTo>
                    <a:pt x="92" y="160"/>
                  </a:lnTo>
                  <a:lnTo>
                    <a:pt x="88" y="166"/>
                  </a:lnTo>
                  <a:lnTo>
                    <a:pt x="82" y="172"/>
                  </a:lnTo>
                  <a:lnTo>
                    <a:pt x="74" y="178"/>
                  </a:lnTo>
                  <a:lnTo>
                    <a:pt x="66" y="180"/>
                  </a:lnTo>
                  <a:lnTo>
                    <a:pt x="56" y="184"/>
                  </a:lnTo>
                  <a:lnTo>
                    <a:pt x="56" y="194"/>
                  </a:lnTo>
                  <a:close/>
                  <a:moveTo>
                    <a:pt x="44" y="42"/>
                  </a:moveTo>
                  <a:lnTo>
                    <a:pt x="44" y="42"/>
                  </a:lnTo>
                  <a:lnTo>
                    <a:pt x="38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54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8" y="68"/>
                  </a:lnTo>
                  <a:lnTo>
                    <a:pt x="32" y="74"/>
                  </a:lnTo>
                  <a:lnTo>
                    <a:pt x="36" y="78"/>
                  </a:lnTo>
                  <a:lnTo>
                    <a:pt x="44" y="82"/>
                  </a:lnTo>
                  <a:lnTo>
                    <a:pt x="44" y="42"/>
                  </a:lnTo>
                  <a:close/>
                  <a:moveTo>
                    <a:pt x="54" y="158"/>
                  </a:moveTo>
                  <a:lnTo>
                    <a:pt x="54" y="158"/>
                  </a:lnTo>
                  <a:lnTo>
                    <a:pt x="60" y="156"/>
                  </a:lnTo>
                  <a:lnTo>
                    <a:pt x="64" y="152"/>
                  </a:lnTo>
                  <a:lnTo>
                    <a:pt x="70" y="146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0" y="128"/>
                  </a:lnTo>
                  <a:lnTo>
                    <a:pt x="66" y="122"/>
                  </a:lnTo>
                  <a:lnTo>
                    <a:pt x="60" y="118"/>
                  </a:lnTo>
                  <a:lnTo>
                    <a:pt x="56" y="116"/>
                  </a:lnTo>
                  <a:lnTo>
                    <a:pt x="54" y="116"/>
                  </a:lnTo>
                  <a:lnTo>
                    <a:pt x="54" y="158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4340" name="Group 15"/>
          <p:cNvGrpSpPr>
            <a:grpSpLocks/>
          </p:cNvGrpSpPr>
          <p:nvPr/>
        </p:nvGrpSpPr>
        <p:grpSpPr bwMode="auto">
          <a:xfrm>
            <a:off x="2128417" y="2254230"/>
            <a:ext cx="2982832" cy="2080025"/>
            <a:chOff x="231357" y="2978266"/>
            <a:chExt cx="3976946" cy="2773032"/>
          </a:xfrm>
        </p:grpSpPr>
        <p:grpSp>
          <p:nvGrpSpPr>
            <p:cNvPr id="14357" name="Group 59"/>
            <p:cNvGrpSpPr>
              <a:grpSpLocks/>
            </p:cNvGrpSpPr>
            <p:nvPr/>
          </p:nvGrpSpPr>
          <p:grpSpPr bwMode="auto">
            <a:xfrm>
              <a:off x="590655" y="2978266"/>
              <a:ext cx="2765891" cy="2773032"/>
              <a:chOff x="8247723" y="2031817"/>
              <a:chExt cx="983093" cy="985631"/>
            </a:xfrm>
          </p:grpSpPr>
          <p:sp>
            <p:nvSpPr>
              <p:cNvPr id="25" name="Freeform 16"/>
              <p:cNvSpPr>
                <a:spLocks/>
              </p:cNvSpPr>
              <p:nvPr/>
            </p:nvSpPr>
            <p:spPr bwMode="gray">
              <a:xfrm>
                <a:off x="8247723" y="2547482"/>
                <a:ext cx="464925" cy="469966"/>
              </a:xfrm>
              <a:custGeom>
                <a:avLst/>
                <a:gdLst>
                  <a:gd name="T0" fmla="*/ 569553113 w 178"/>
                  <a:gd name="T1" fmla="*/ 0 h 178"/>
                  <a:gd name="T2" fmla="*/ 0 w 178"/>
                  <a:gd name="T3" fmla="*/ 0 h 178"/>
                  <a:gd name="T4" fmla="*/ 563492860 w 178"/>
                  <a:gd name="T5" fmla="*/ 933097028 h 178"/>
                  <a:gd name="T6" fmla="*/ 1078513547 w 178"/>
                  <a:gd name="T7" fmla="*/ 1078513547 h 178"/>
                  <a:gd name="T8" fmla="*/ 1078513547 w 178"/>
                  <a:gd name="T9" fmla="*/ 508960435 h 178"/>
                  <a:gd name="T10" fmla="*/ 848268263 w 178"/>
                  <a:gd name="T11" fmla="*/ 436252175 h 178"/>
                  <a:gd name="T12" fmla="*/ 569553113 w 178"/>
                  <a:gd name="T13" fmla="*/ 0 h 17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8"/>
                  <a:gd name="T22" fmla="*/ 0 h 178"/>
                  <a:gd name="T23" fmla="*/ 178 w 178"/>
                  <a:gd name="T24" fmla="*/ 178 h 17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8" h="178">
                    <a:moveTo>
                      <a:pt x="9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61"/>
                      <a:pt x="35" y="121"/>
                      <a:pt x="93" y="154"/>
                    </a:cubicBezTo>
                    <a:cubicBezTo>
                      <a:pt x="120" y="169"/>
                      <a:pt x="149" y="177"/>
                      <a:pt x="178" y="178"/>
                    </a:cubicBezTo>
                    <a:cubicBezTo>
                      <a:pt x="178" y="84"/>
                      <a:pt x="178" y="84"/>
                      <a:pt x="178" y="84"/>
                    </a:cubicBezTo>
                    <a:cubicBezTo>
                      <a:pt x="165" y="83"/>
                      <a:pt x="152" y="79"/>
                      <a:pt x="140" y="72"/>
                    </a:cubicBezTo>
                    <a:cubicBezTo>
                      <a:pt x="113" y="56"/>
                      <a:pt x="97" y="29"/>
                      <a:pt x="94" y="0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050" ker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26" name="Freeform 17"/>
              <p:cNvSpPr>
                <a:spLocks/>
              </p:cNvSpPr>
              <p:nvPr/>
            </p:nvSpPr>
            <p:spPr bwMode="gray">
              <a:xfrm>
                <a:off x="8749323" y="2031817"/>
                <a:ext cx="473388" cy="493097"/>
              </a:xfrm>
              <a:custGeom>
                <a:avLst/>
                <a:gdLst>
                  <a:gd name="T0" fmla="*/ 502902644 w 178"/>
                  <a:gd name="T1" fmla="*/ 1078513547 h 178"/>
                  <a:gd name="T2" fmla="*/ 1078513547 w 178"/>
                  <a:gd name="T3" fmla="*/ 1078513547 h 178"/>
                  <a:gd name="T4" fmla="*/ 521078478 w 178"/>
                  <a:gd name="T5" fmla="*/ 151476811 h 178"/>
                  <a:gd name="T6" fmla="*/ 0 w 178"/>
                  <a:gd name="T7" fmla="*/ 0 h 178"/>
                  <a:gd name="T8" fmla="*/ 0 w 178"/>
                  <a:gd name="T9" fmla="*/ 575610904 h 178"/>
                  <a:gd name="T10" fmla="*/ 230245361 w 178"/>
                  <a:gd name="T11" fmla="*/ 648319317 h 178"/>
                  <a:gd name="T12" fmla="*/ 502902644 w 178"/>
                  <a:gd name="T13" fmla="*/ 1078513547 h 17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8"/>
                  <a:gd name="T22" fmla="*/ 0 h 178"/>
                  <a:gd name="T23" fmla="*/ 178 w 178"/>
                  <a:gd name="T24" fmla="*/ 178 h 17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8" h="178">
                    <a:moveTo>
                      <a:pt x="83" y="178"/>
                    </a:moveTo>
                    <a:cubicBezTo>
                      <a:pt x="178" y="178"/>
                      <a:pt x="178" y="178"/>
                      <a:pt x="178" y="178"/>
                    </a:cubicBezTo>
                    <a:cubicBezTo>
                      <a:pt x="176" y="117"/>
                      <a:pt x="143" y="58"/>
                      <a:pt x="86" y="25"/>
                    </a:cubicBezTo>
                    <a:cubicBezTo>
                      <a:pt x="58" y="9"/>
                      <a:pt x="29" y="1"/>
                      <a:pt x="0" y="0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13" y="96"/>
                      <a:pt x="26" y="100"/>
                      <a:pt x="38" y="107"/>
                    </a:cubicBezTo>
                    <a:cubicBezTo>
                      <a:pt x="65" y="122"/>
                      <a:pt x="81" y="149"/>
                      <a:pt x="83" y="178"/>
                    </a:cubicBezTo>
                    <a:close/>
                  </a:path>
                </a:pathLst>
              </a:custGeom>
              <a:solidFill>
                <a:schemeClr val="tx2"/>
              </a:solidFill>
              <a:ln w="317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/>
              <a:lstStyle/>
              <a:p>
                <a:pPr>
                  <a:defRPr/>
                </a:pPr>
                <a:endParaRPr lang="en-GB" sz="1050" ker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27" name="Freeform 18"/>
              <p:cNvSpPr>
                <a:spLocks/>
              </p:cNvSpPr>
              <p:nvPr/>
            </p:nvSpPr>
            <p:spPr bwMode="gray">
              <a:xfrm>
                <a:off x="8757428" y="2567387"/>
                <a:ext cx="473388" cy="444577"/>
              </a:xfrm>
              <a:custGeom>
                <a:avLst/>
                <a:gdLst>
                  <a:gd name="T0" fmla="*/ 502902644 w 178"/>
                  <a:gd name="T1" fmla="*/ 0 h 178"/>
                  <a:gd name="T2" fmla="*/ 436252175 w 178"/>
                  <a:gd name="T3" fmla="*/ 230245361 h 178"/>
                  <a:gd name="T4" fmla="*/ 0 w 178"/>
                  <a:gd name="T5" fmla="*/ 508960435 h 178"/>
                  <a:gd name="T6" fmla="*/ 0 w 178"/>
                  <a:gd name="T7" fmla="*/ 1078513547 h 178"/>
                  <a:gd name="T8" fmla="*/ 933097028 w 178"/>
                  <a:gd name="T9" fmla="*/ 521078478 h 178"/>
                  <a:gd name="T10" fmla="*/ 1078513547 w 178"/>
                  <a:gd name="T11" fmla="*/ 0 h 178"/>
                  <a:gd name="T12" fmla="*/ 502902644 w 178"/>
                  <a:gd name="T13" fmla="*/ 0 h 17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8"/>
                  <a:gd name="T22" fmla="*/ 0 h 178"/>
                  <a:gd name="T23" fmla="*/ 178 w 178"/>
                  <a:gd name="T24" fmla="*/ 178 h 17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8" h="178">
                    <a:moveTo>
                      <a:pt x="83" y="0"/>
                    </a:moveTo>
                    <a:cubicBezTo>
                      <a:pt x="83" y="13"/>
                      <a:pt x="79" y="26"/>
                      <a:pt x="72" y="38"/>
                    </a:cubicBezTo>
                    <a:cubicBezTo>
                      <a:pt x="56" y="65"/>
                      <a:pt x="29" y="81"/>
                      <a:pt x="0" y="84"/>
                    </a:cubicBezTo>
                    <a:cubicBezTo>
                      <a:pt x="0" y="178"/>
                      <a:pt x="0" y="178"/>
                      <a:pt x="0" y="178"/>
                    </a:cubicBezTo>
                    <a:cubicBezTo>
                      <a:pt x="61" y="176"/>
                      <a:pt x="120" y="143"/>
                      <a:pt x="154" y="86"/>
                    </a:cubicBezTo>
                    <a:cubicBezTo>
                      <a:pt x="169" y="58"/>
                      <a:pt x="177" y="29"/>
                      <a:pt x="178" y="0"/>
                    </a:cubicBezTo>
                    <a:lnTo>
                      <a:pt x="83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050" kern="0">
                  <a:latin typeface="Calibri"/>
                </a:endParaRPr>
              </a:p>
            </p:txBody>
          </p:sp>
          <p:sp>
            <p:nvSpPr>
              <p:cNvPr id="28" name="Freeform 19"/>
              <p:cNvSpPr>
                <a:spLocks/>
              </p:cNvSpPr>
              <p:nvPr/>
            </p:nvSpPr>
            <p:spPr bwMode="gray">
              <a:xfrm>
                <a:off x="8255058" y="2031817"/>
                <a:ext cx="457590" cy="493097"/>
              </a:xfrm>
              <a:custGeom>
                <a:avLst/>
                <a:gdLst>
                  <a:gd name="T0" fmla="*/ 1078513547 w 178"/>
                  <a:gd name="T1" fmla="*/ 575610904 h 178"/>
                  <a:gd name="T2" fmla="*/ 1078513547 w 178"/>
                  <a:gd name="T3" fmla="*/ 0 h 178"/>
                  <a:gd name="T4" fmla="*/ 145416558 w 178"/>
                  <a:gd name="T5" fmla="*/ 563492860 h 178"/>
                  <a:gd name="T6" fmla="*/ 0 w 178"/>
                  <a:gd name="T7" fmla="*/ 1078513547 h 178"/>
                  <a:gd name="T8" fmla="*/ 575610904 w 178"/>
                  <a:gd name="T9" fmla="*/ 1078513547 h 178"/>
                  <a:gd name="T10" fmla="*/ 642261373 w 178"/>
                  <a:gd name="T11" fmla="*/ 848268263 h 178"/>
                  <a:gd name="T12" fmla="*/ 1078513547 w 178"/>
                  <a:gd name="T13" fmla="*/ 575610904 h 17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8"/>
                  <a:gd name="T22" fmla="*/ 0 h 178"/>
                  <a:gd name="T23" fmla="*/ 178 w 178"/>
                  <a:gd name="T24" fmla="*/ 178 h 17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8" h="178">
                    <a:moveTo>
                      <a:pt x="178" y="95"/>
                    </a:moveTo>
                    <a:cubicBezTo>
                      <a:pt x="178" y="0"/>
                      <a:pt x="178" y="0"/>
                      <a:pt x="178" y="0"/>
                    </a:cubicBezTo>
                    <a:cubicBezTo>
                      <a:pt x="117" y="2"/>
                      <a:pt x="58" y="35"/>
                      <a:pt x="24" y="93"/>
                    </a:cubicBezTo>
                    <a:cubicBezTo>
                      <a:pt x="9" y="120"/>
                      <a:pt x="1" y="149"/>
                      <a:pt x="0" y="178"/>
                    </a:cubicBezTo>
                    <a:cubicBezTo>
                      <a:pt x="95" y="178"/>
                      <a:pt x="95" y="178"/>
                      <a:pt x="95" y="178"/>
                    </a:cubicBezTo>
                    <a:cubicBezTo>
                      <a:pt x="96" y="165"/>
                      <a:pt x="99" y="152"/>
                      <a:pt x="106" y="140"/>
                    </a:cubicBezTo>
                    <a:cubicBezTo>
                      <a:pt x="122" y="113"/>
                      <a:pt x="149" y="97"/>
                      <a:pt x="178" y="95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050" kern="0">
                  <a:solidFill>
                    <a:srgbClr val="EEECE1"/>
                  </a:solidFill>
                  <a:latin typeface="Calibri"/>
                </a:endParaRPr>
              </a:p>
            </p:txBody>
          </p:sp>
          <p:sp>
            <p:nvSpPr>
              <p:cNvPr id="29" name="Oval 20"/>
              <p:cNvSpPr>
                <a:spLocks noChangeAspect="1"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8533223" y="2334784"/>
                <a:ext cx="395525" cy="392108"/>
              </a:xfrm>
              <a:prstGeom prst="ellipse">
                <a:avLst/>
              </a:prstGeom>
              <a:solidFill>
                <a:srgbClr val="968C6D"/>
              </a:solidFill>
              <a:ln w="317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lIns="0" tIns="0" rIns="0" bIns="0" anchor="ctr"/>
              <a:lstStyle/>
              <a:p>
                <a:pPr marL="133350" indent="-133350" algn="ctr" defTabSz="601266">
                  <a:spcBef>
                    <a:spcPct val="20000"/>
                  </a:spcBef>
                  <a:defRPr/>
                </a:pPr>
                <a:r>
                  <a:rPr lang="de-DE" sz="1500" b="1" kern="0">
                    <a:solidFill>
                      <a:srgbClr val="EEECE1"/>
                    </a:solidFill>
                    <a:latin typeface="Calibri"/>
                    <a:cs typeface="Arial" charset="0"/>
                  </a:rPr>
                  <a:t>NEM</a:t>
                </a:r>
                <a:endParaRPr lang="de-DE" sz="1500" b="1" kern="0" dirty="0">
                  <a:solidFill>
                    <a:srgbClr val="EEECE1"/>
                  </a:solidFill>
                  <a:latin typeface="Calibri"/>
                  <a:cs typeface="Arial" charset="0"/>
                </a:endParaRPr>
              </a:p>
            </p:txBody>
          </p:sp>
        </p:grpSp>
        <p:sp>
          <p:nvSpPr>
            <p:cNvPr id="18" name="Rectangle 17"/>
            <p:cNvSpPr/>
            <p:nvPr/>
          </p:nvSpPr>
          <p:spPr>
            <a:xfrm>
              <a:off x="345252" y="3138755"/>
              <a:ext cx="1581085" cy="5539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latinLnBrk="1">
                <a:defRPr/>
              </a:pPr>
              <a:r>
                <a:rPr lang="en-MY" sz="1050" b="1" dirty="0">
                  <a:latin typeface="Arial" panose="020B0604020202020204" pitchFamily="34" charset="0"/>
                  <a:cs typeface="Arial" panose="020B0604020202020204" pitchFamily="34" charset="0"/>
                </a:rPr>
                <a:t>Bureaucratic</a:t>
              </a:r>
            </a:p>
            <a:p>
              <a:pPr algn="ctr" latinLnBrk="1">
                <a:defRPr/>
              </a:pPr>
              <a:r>
                <a:rPr lang="en-MY" sz="1050" b="1" dirty="0">
                  <a:latin typeface="Arial" panose="020B0604020202020204" pitchFamily="34" charset="0"/>
                  <a:cs typeface="Arial" panose="020B0604020202020204" pitchFamily="34" charset="0"/>
                </a:rPr>
                <a:t>Reforms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31357" y="5014785"/>
              <a:ext cx="1435577" cy="6770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latinLnBrk="1">
                <a:defRPr/>
              </a:pPr>
              <a:r>
                <a:rPr lang="en-MY" sz="9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engthening</a:t>
              </a:r>
            </a:p>
            <a:p>
              <a:pPr algn="ctr" latinLnBrk="1">
                <a:defRPr/>
              </a:pPr>
              <a:r>
                <a:rPr lang="en-MY" sz="9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tional Policy</a:t>
              </a:r>
            </a:p>
            <a:p>
              <a:pPr algn="ctr" latinLnBrk="1">
                <a:defRPr/>
              </a:pPr>
              <a:r>
                <a:rPr lang="en-MY" sz="9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mulation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301536" y="4722432"/>
              <a:ext cx="1906767" cy="6308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latinLnBrk="1">
                <a:defRPr/>
              </a:pPr>
              <a:r>
                <a:rPr lang="en-MY" sz="825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roving quality </a:t>
              </a:r>
            </a:p>
            <a:p>
              <a:pPr algn="ctr" latinLnBrk="1">
                <a:defRPr/>
              </a:pPr>
              <a:r>
                <a:rPr lang="en-MY" sz="825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 Human Resources</a:t>
              </a:r>
            </a:p>
            <a:p>
              <a:pPr algn="ctr" latinLnBrk="1">
                <a:defRPr/>
              </a:pPr>
              <a:r>
                <a:rPr lang="en-MY" sz="825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Civil Service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100304" y="3246522"/>
              <a:ext cx="1319158" cy="86167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atinLnBrk="1">
                <a:defRPr/>
              </a:pPr>
              <a:r>
                <a:rPr lang="en-MY" sz="9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scal </a:t>
              </a:r>
            </a:p>
            <a:p>
              <a:pPr latinLnBrk="1">
                <a:defRPr/>
              </a:pPr>
              <a:r>
                <a:rPr lang="en-MY" sz="9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ipline</a:t>
              </a:r>
            </a:p>
            <a:p>
              <a:pPr algn="ctr" latinLnBrk="1">
                <a:defRPr/>
              </a:pPr>
              <a:r>
                <a:rPr lang="en-MY" sz="9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amp; </a:t>
              </a:r>
            </a:p>
            <a:p>
              <a:pPr algn="ctr" latinLnBrk="1">
                <a:defRPr/>
              </a:pPr>
              <a:r>
                <a:rPr lang="en-MY" sz="9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Reforms</a:t>
              </a:r>
            </a:p>
          </p:txBody>
        </p:sp>
        <p:sp>
          <p:nvSpPr>
            <p:cNvPr id="22" name="Freeform 4851"/>
            <p:cNvSpPr>
              <a:spLocks noEditPoints="1"/>
            </p:cNvSpPr>
            <p:nvPr/>
          </p:nvSpPr>
          <p:spPr bwMode="auto">
            <a:xfrm>
              <a:off x="2033634" y="5158327"/>
              <a:ext cx="473057" cy="469843"/>
            </a:xfrm>
            <a:custGeom>
              <a:avLst/>
              <a:gdLst>
                <a:gd name="T0" fmla="*/ 248 w 360"/>
                <a:gd name="T1" fmla="*/ 8 h 380"/>
                <a:gd name="T2" fmla="*/ 274 w 360"/>
                <a:gd name="T3" fmla="*/ 0 h 380"/>
                <a:gd name="T4" fmla="*/ 298 w 360"/>
                <a:gd name="T5" fmla="*/ 28 h 380"/>
                <a:gd name="T6" fmla="*/ 280 w 360"/>
                <a:gd name="T7" fmla="*/ 56 h 380"/>
                <a:gd name="T8" fmla="*/ 258 w 360"/>
                <a:gd name="T9" fmla="*/ 56 h 380"/>
                <a:gd name="T10" fmla="*/ 240 w 360"/>
                <a:gd name="T11" fmla="*/ 28 h 380"/>
                <a:gd name="T12" fmla="*/ 344 w 360"/>
                <a:gd name="T13" fmla="*/ 88 h 380"/>
                <a:gd name="T14" fmla="*/ 288 w 360"/>
                <a:gd name="T15" fmla="*/ 68 h 380"/>
                <a:gd name="T16" fmla="*/ 214 w 360"/>
                <a:gd name="T17" fmla="*/ 70 h 380"/>
                <a:gd name="T18" fmla="*/ 194 w 360"/>
                <a:gd name="T19" fmla="*/ 90 h 380"/>
                <a:gd name="T20" fmla="*/ 224 w 360"/>
                <a:gd name="T21" fmla="*/ 114 h 380"/>
                <a:gd name="T22" fmla="*/ 248 w 360"/>
                <a:gd name="T23" fmla="*/ 166 h 380"/>
                <a:gd name="T24" fmla="*/ 234 w 360"/>
                <a:gd name="T25" fmla="*/ 208 h 380"/>
                <a:gd name="T26" fmla="*/ 278 w 360"/>
                <a:gd name="T27" fmla="*/ 214 h 380"/>
                <a:gd name="T28" fmla="*/ 310 w 360"/>
                <a:gd name="T29" fmla="*/ 244 h 380"/>
                <a:gd name="T30" fmla="*/ 332 w 360"/>
                <a:gd name="T31" fmla="*/ 200 h 380"/>
                <a:gd name="T32" fmla="*/ 348 w 360"/>
                <a:gd name="T33" fmla="*/ 208 h 380"/>
                <a:gd name="T34" fmla="*/ 360 w 360"/>
                <a:gd name="T35" fmla="*/ 190 h 380"/>
                <a:gd name="T36" fmla="*/ 102 w 360"/>
                <a:gd name="T37" fmla="*/ 56 h 380"/>
                <a:gd name="T38" fmla="*/ 120 w 360"/>
                <a:gd name="T39" fmla="*/ 28 h 380"/>
                <a:gd name="T40" fmla="*/ 98 w 360"/>
                <a:gd name="T41" fmla="*/ 0 h 380"/>
                <a:gd name="T42" fmla="*/ 70 w 360"/>
                <a:gd name="T43" fmla="*/ 8 h 380"/>
                <a:gd name="T44" fmla="*/ 62 w 360"/>
                <a:gd name="T45" fmla="*/ 34 h 380"/>
                <a:gd name="T46" fmla="*/ 92 w 360"/>
                <a:gd name="T47" fmla="*/ 58 h 380"/>
                <a:gd name="T48" fmla="*/ 50 w 360"/>
                <a:gd name="T49" fmla="*/ 244 h 380"/>
                <a:gd name="T50" fmla="*/ 74 w 360"/>
                <a:gd name="T51" fmla="*/ 218 h 380"/>
                <a:gd name="T52" fmla="*/ 126 w 360"/>
                <a:gd name="T53" fmla="*/ 208 h 380"/>
                <a:gd name="T54" fmla="*/ 112 w 360"/>
                <a:gd name="T55" fmla="*/ 166 h 380"/>
                <a:gd name="T56" fmla="*/ 128 w 360"/>
                <a:gd name="T57" fmla="*/ 122 h 380"/>
                <a:gd name="T58" fmla="*/ 166 w 360"/>
                <a:gd name="T59" fmla="*/ 90 h 380"/>
                <a:gd name="T60" fmla="*/ 154 w 360"/>
                <a:gd name="T61" fmla="*/ 74 h 380"/>
                <a:gd name="T62" fmla="*/ 72 w 360"/>
                <a:gd name="T63" fmla="*/ 68 h 380"/>
                <a:gd name="T64" fmla="*/ 20 w 360"/>
                <a:gd name="T65" fmla="*/ 80 h 380"/>
                <a:gd name="T66" fmla="*/ 0 w 360"/>
                <a:gd name="T67" fmla="*/ 190 h 380"/>
                <a:gd name="T68" fmla="*/ 12 w 360"/>
                <a:gd name="T69" fmla="*/ 208 h 380"/>
                <a:gd name="T70" fmla="*/ 28 w 360"/>
                <a:gd name="T71" fmla="*/ 200 h 380"/>
                <a:gd name="T72" fmla="*/ 170 w 360"/>
                <a:gd name="T73" fmla="*/ 118 h 380"/>
                <a:gd name="T74" fmla="*/ 136 w 360"/>
                <a:gd name="T75" fmla="*/ 146 h 380"/>
                <a:gd name="T76" fmla="*/ 136 w 360"/>
                <a:gd name="T77" fmla="*/ 184 h 380"/>
                <a:gd name="T78" fmla="*/ 170 w 360"/>
                <a:gd name="T79" fmla="*/ 214 h 380"/>
                <a:gd name="T80" fmla="*/ 208 w 360"/>
                <a:gd name="T81" fmla="*/ 206 h 380"/>
                <a:gd name="T82" fmla="*/ 228 w 360"/>
                <a:gd name="T83" fmla="*/ 166 h 380"/>
                <a:gd name="T84" fmla="*/ 214 w 360"/>
                <a:gd name="T85" fmla="*/ 132 h 380"/>
                <a:gd name="T86" fmla="*/ 296 w 360"/>
                <a:gd name="T87" fmla="*/ 260 h 380"/>
                <a:gd name="T88" fmla="*/ 288 w 360"/>
                <a:gd name="T89" fmla="*/ 246 h 380"/>
                <a:gd name="T90" fmla="*/ 180 w 360"/>
                <a:gd name="T91" fmla="*/ 278 h 380"/>
                <a:gd name="T92" fmla="*/ 82 w 360"/>
                <a:gd name="T93" fmla="*/ 236 h 380"/>
                <a:gd name="T94" fmla="*/ 64 w 360"/>
                <a:gd name="T95" fmla="*/ 260 h 380"/>
                <a:gd name="T96" fmla="*/ 106 w 360"/>
                <a:gd name="T97" fmla="*/ 304 h 380"/>
                <a:gd name="T98" fmla="*/ 146 w 360"/>
                <a:gd name="T99" fmla="*/ 378 h 380"/>
                <a:gd name="T100" fmla="*/ 214 w 360"/>
                <a:gd name="T101" fmla="*/ 378 h 380"/>
                <a:gd name="T102" fmla="*/ 264 w 360"/>
                <a:gd name="T103" fmla="*/ 36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0" h="380">
                  <a:moveTo>
                    <a:pt x="240" y="28"/>
                  </a:moveTo>
                  <a:lnTo>
                    <a:pt x="240" y="28"/>
                  </a:lnTo>
                  <a:lnTo>
                    <a:pt x="240" y="22"/>
                  </a:lnTo>
                  <a:lnTo>
                    <a:pt x="242" y="18"/>
                  </a:lnTo>
                  <a:lnTo>
                    <a:pt x="248" y="8"/>
                  </a:lnTo>
                  <a:lnTo>
                    <a:pt x="258" y="2"/>
                  </a:lnTo>
                  <a:lnTo>
                    <a:pt x="262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74" y="0"/>
                  </a:lnTo>
                  <a:lnTo>
                    <a:pt x="280" y="2"/>
                  </a:lnTo>
                  <a:lnTo>
                    <a:pt x="290" y="8"/>
                  </a:lnTo>
                  <a:lnTo>
                    <a:pt x="296" y="18"/>
                  </a:lnTo>
                  <a:lnTo>
                    <a:pt x="298" y="22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98" y="34"/>
                  </a:lnTo>
                  <a:lnTo>
                    <a:pt x="296" y="40"/>
                  </a:lnTo>
                  <a:lnTo>
                    <a:pt x="290" y="50"/>
                  </a:lnTo>
                  <a:lnTo>
                    <a:pt x="280" y="56"/>
                  </a:lnTo>
                  <a:lnTo>
                    <a:pt x="274" y="58"/>
                  </a:lnTo>
                  <a:lnTo>
                    <a:pt x="268" y="58"/>
                  </a:lnTo>
                  <a:lnTo>
                    <a:pt x="268" y="58"/>
                  </a:lnTo>
                  <a:lnTo>
                    <a:pt x="262" y="58"/>
                  </a:lnTo>
                  <a:lnTo>
                    <a:pt x="258" y="56"/>
                  </a:lnTo>
                  <a:lnTo>
                    <a:pt x="248" y="50"/>
                  </a:lnTo>
                  <a:lnTo>
                    <a:pt x="242" y="40"/>
                  </a:lnTo>
                  <a:lnTo>
                    <a:pt x="240" y="34"/>
                  </a:lnTo>
                  <a:lnTo>
                    <a:pt x="240" y="28"/>
                  </a:lnTo>
                  <a:lnTo>
                    <a:pt x="240" y="28"/>
                  </a:lnTo>
                  <a:close/>
                  <a:moveTo>
                    <a:pt x="360" y="190"/>
                  </a:moveTo>
                  <a:lnTo>
                    <a:pt x="344" y="90"/>
                  </a:lnTo>
                  <a:lnTo>
                    <a:pt x="344" y="90"/>
                  </a:lnTo>
                  <a:lnTo>
                    <a:pt x="344" y="88"/>
                  </a:lnTo>
                  <a:lnTo>
                    <a:pt x="344" y="88"/>
                  </a:lnTo>
                  <a:lnTo>
                    <a:pt x="340" y="80"/>
                  </a:lnTo>
                  <a:lnTo>
                    <a:pt x="332" y="74"/>
                  </a:lnTo>
                  <a:lnTo>
                    <a:pt x="324" y="70"/>
                  </a:lnTo>
                  <a:lnTo>
                    <a:pt x="314" y="68"/>
                  </a:lnTo>
                  <a:lnTo>
                    <a:pt x="288" y="68"/>
                  </a:lnTo>
                  <a:lnTo>
                    <a:pt x="270" y="102"/>
                  </a:lnTo>
                  <a:lnTo>
                    <a:pt x="250" y="68"/>
                  </a:lnTo>
                  <a:lnTo>
                    <a:pt x="222" y="68"/>
                  </a:lnTo>
                  <a:lnTo>
                    <a:pt x="222" y="68"/>
                  </a:lnTo>
                  <a:lnTo>
                    <a:pt x="214" y="70"/>
                  </a:lnTo>
                  <a:lnTo>
                    <a:pt x="206" y="74"/>
                  </a:lnTo>
                  <a:lnTo>
                    <a:pt x="198" y="80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2" y="98"/>
                  </a:lnTo>
                  <a:lnTo>
                    <a:pt x="192" y="98"/>
                  </a:lnTo>
                  <a:lnTo>
                    <a:pt x="204" y="102"/>
                  </a:lnTo>
                  <a:lnTo>
                    <a:pt x="214" y="106"/>
                  </a:lnTo>
                  <a:lnTo>
                    <a:pt x="224" y="114"/>
                  </a:lnTo>
                  <a:lnTo>
                    <a:pt x="232" y="122"/>
                  </a:lnTo>
                  <a:lnTo>
                    <a:pt x="240" y="132"/>
                  </a:lnTo>
                  <a:lnTo>
                    <a:pt x="244" y="142"/>
                  </a:lnTo>
                  <a:lnTo>
                    <a:pt x="248" y="154"/>
                  </a:lnTo>
                  <a:lnTo>
                    <a:pt x="248" y="166"/>
                  </a:lnTo>
                  <a:lnTo>
                    <a:pt x="248" y="166"/>
                  </a:lnTo>
                  <a:lnTo>
                    <a:pt x="248" y="178"/>
                  </a:lnTo>
                  <a:lnTo>
                    <a:pt x="246" y="188"/>
                  </a:lnTo>
                  <a:lnTo>
                    <a:pt x="240" y="198"/>
                  </a:lnTo>
                  <a:lnTo>
                    <a:pt x="234" y="208"/>
                  </a:lnTo>
                  <a:lnTo>
                    <a:pt x="250" y="208"/>
                  </a:lnTo>
                  <a:lnTo>
                    <a:pt x="250" y="208"/>
                  </a:lnTo>
                  <a:lnTo>
                    <a:pt x="260" y="208"/>
                  </a:lnTo>
                  <a:lnTo>
                    <a:pt x="270" y="210"/>
                  </a:lnTo>
                  <a:lnTo>
                    <a:pt x="278" y="214"/>
                  </a:lnTo>
                  <a:lnTo>
                    <a:pt x="286" y="218"/>
                  </a:lnTo>
                  <a:lnTo>
                    <a:pt x="294" y="222"/>
                  </a:lnTo>
                  <a:lnTo>
                    <a:pt x="300" y="228"/>
                  </a:lnTo>
                  <a:lnTo>
                    <a:pt x="306" y="236"/>
                  </a:lnTo>
                  <a:lnTo>
                    <a:pt x="310" y="244"/>
                  </a:lnTo>
                  <a:lnTo>
                    <a:pt x="308" y="118"/>
                  </a:lnTo>
                  <a:lnTo>
                    <a:pt x="318" y="118"/>
                  </a:lnTo>
                  <a:lnTo>
                    <a:pt x="330" y="196"/>
                  </a:lnTo>
                  <a:lnTo>
                    <a:pt x="330" y="196"/>
                  </a:lnTo>
                  <a:lnTo>
                    <a:pt x="332" y="200"/>
                  </a:lnTo>
                  <a:lnTo>
                    <a:pt x="336" y="204"/>
                  </a:lnTo>
                  <a:lnTo>
                    <a:pt x="340" y="208"/>
                  </a:lnTo>
                  <a:lnTo>
                    <a:pt x="346" y="208"/>
                  </a:lnTo>
                  <a:lnTo>
                    <a:pt x="346" y="208"/>
                  </a:lnTo>
                  <a:lnTo>
                    <a:pt x="348" y="208"/>
                  </a:lnTo>
                  <a:lnTo>
                    <a:pt x="348" y="208"/>
                  </a:lnTo>
                  <a:lnTo>
                    <a:pt x="354" y="206"/>
                  </a:lnTo>
                  <a:lnTo>
                    <a:pt x="358" y="202"/>
                  </a:lnTo>
                  <a:lnTo>
                    <a:pt x="360" y="196"/>
                  </a:lnTo>
                  <a:lnTo>
                    <a:pt x="360" y="190"/>
                  </a:lnTo>
                  <a:lnTo>
                    <a:pt x="360" y="190"/>
                  </a:lnTo>
                  <a:close/>
                  <a:moveTo>
                    <a:pt x="92" y="58"/>
                  </a:moveTo>
                  <a:lnTo>
                    <a:pt x="92" y="58"/>
                  </a:lnTo>
                  <a:lnTo>
                    <a:pt x="98" y="58"/>
                  </a:lnTo>
                  <a:lnTo>
                    <a:pt x="102" y="56"/>
                  </a:lnTo>
                  <a:lnTo>
                    <a:pt x="112" y="50"/>
                  </a:lnTo>
                  <a:lnTo>
                    <a:pt x="118" y="40"/>
                  </a:lnTo>
                  <a:lnTo>
                    <a:pt x="120" y="34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2"/>
                  </a:lnTo>
                  <a:lnTo>
                    <a:pt x="118" y="18"/>
                  </a:lnTo>
                  <a:lnTo>
                    <a:pt x="112" y="8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86" y="0"/>
                  </a:lnTo>
                  <a:lnTo>
                    <a:pt x="80" y="2"/>
                  </a:lnTo>
                  <a:lnTo>
                    <a:pt x="70" y="8"/>
                  </a:lnTo>
                  <a:lnTo>
                    <a:pt x="64" y="18"/>
                  </a:lnTo>
                  <a:lnTo>
                    <a:pt x="62" y="22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34"/>
                  </a:lnTo>
                  <a:lnTo>
                    <a:pt x="64" y="40"/>
                  </a:lnTo>
                  <a:lnTo>
                    <a:pt x="70" y="50"/>
                  </a:lnTo>
                  <a:lnTo>
                    <a:pt x="80" y="56"/>
                  </a:lnTo>
                  <a:lnTo>
                    <a:pt x="86" y="58"/>
                  </a:lnTo>
                  <a:lnTo>
                    <a:pt x="92" y="58"/>
                  </a:lnTo>
                  <a:lnTo>
                    <a:pt x="92" y="58"/>
                  </a:lnTo>
                  <a:close/>
                  <a:moveTo>
                    <a:pt x="30" y="196"/>
                  </a:moveTo>
                  <a:lnTo>
                    <a:pt x="42" y="118"/>
                  </a:lnTo>
                  <a:lnTo>
                    <a:pt x="52" y="118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4" y="236"/>
                  </a:lnTo>
                  <a:lnTo>
                    <a:pt x="60" y="228"/>
                  </a:lnTo>
                  <a:lnTo>
                    <a:pt x="66" y="222"/>
                  </a:lnTo>
                  <a:lnTo>
                    <a:pt x="74" y="218"/>
                  </a:lnTo>
                  <a:lnTo>
                    <a:pt x="82" y="214"/>
                  </a:lnTo>
                  <a:lnTo>
                    <a:pt x="90" y="210"/>
                  </a:lnTo>
                  <a:lnTo>
                    <a:pt x="100" y="208"/>
                  </a:lnTo>
                  <a:lnTo>
                    <a:pt x="110" y="208"/>
                  </a:lnTo>
                  <a:lnTo>
                    <a:pt x="126" y="208"/>
                  </a:lnTo>
                  <a:lnTo>
                    <a:pt x="126" y="208"/>
                  </a:lnTo>
                  <a:lnTo>
                    <a:pt x="120" y="198"/>
                  </a:lnTo>
                  <a:lnTo>
                    <a:pt x="114" y="188"/>
                  </a:lnTo>
                  <a:lnTo>
                    <a:pt x="112" y="178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54"/>
                  </a:lnTo>
                  <a:lnTo>
                    <a:pt x="116" y="142"/>
                  </a:lnTo>
                  <a:lnTo>
                    <a:pt x="120" y="132"/>
                  </a:lnTo>
                  <a:lnTo>
                    <a:pt x="128" y="122"/>
                  </a:lnTo>
                  <a:lnTo>
                    <a:pt x="136" y="114"/>
                  </a:lnTo>
                  <a:lnTo>
                    <a:pt x="146" y="106"/>
                  </a:lnTo>
                  <a:lnTo>
                    <a:pt x="156" y="102"/>
                  </a:lnTo>
                  <a:lnTo>
                    <a:pt x="168" y="98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2" y="80"/>
                  </a:lnTo>
                  <a:lnTo>
                    <a:pt x="154" y="74"/>
                  </a:lnTo>
                  <a:lnTo>
                    <a:pt x="146" y="70"/>
                  </a:lnTo>
                  <a:lnTo>
                    <a:pt x="138" y="68"/>
                  </a:lnTo>
                  <a:lnTo>
                    <a:pt x="110" y="68"/>
                  </a:lnTo>
                  <a:lnTo>
                    <a:pt x="90" y="102"/>
                  </a:lnTo>
                  <a:lnTo>
                    <a:pt x="72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36" y="70"/>
                  </a:lnTo>
                  <a:lnTo>
                    <a:pt x="28" y="74"/>
                  </a:lnTo>
                  <a:lnTo>
                    <a:pt x="20" y="8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90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0" y="196"/>
                  </a:lnTo>
                  <a:lnTo>
                    <a:pt x="2" y="202"/>
                  </a:lnTo>
                  <a:lnTo>
                    <a:pt x="6" y="206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20" y="208"/>
                  </a:lnTo>
                  <a:lnTo>
                    <a:pt x="24" y="204"/>
                  </a:lnTo>
                  <a:lnTo>
                    <a:pt x="28" y="200"/>
                  </a:lnTo>
                  <a:lnTo>
                    <a:pt x="30" y="196"/>
                  </a:lnTo>
                  <a:lnTo>
                    <a:pt x="30" y="196"/>
                  </a:lnTo>
                  <a:close/>
                  <a:moveTo>
                    <a:pt x="180" y="118"/>
                  </a:moveTo>
                  <a:lnTo>
                    <a:pt x="180" y="118"/>
                  </a:lnTo>
                  <a:lnTo>
                    <a:pt x="170" y="118"/>
                  </a:lnTo>
                  <a:lnTo>
                    <a:pt x="162" y="120"/>
                  </a:lnTo>
                  <a:lnTo>
                    <a:pt x="152" y="126"/>
                  </a:lnTo>
                  <a:lnTo>
                    <a:pt x="146" y="132"/>
                  </a:lnTo>
                  <a:lnTo>
                    <a:pt x="140" y="138"/>
                  </a:lnTo>
                  <a:lnTo>
                    <a:pt x="136" y="146"/>
                  </a:lnTo>
                  <a:lnTo>
                    <a:pt x="132" y="156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2" y="176"/>
                  </a:lnTo>
                  <a:lnTo>
                    <a:pt x="136" y="184"/>
                  </a:lnTo>
                  <a:lnTo>
                    <a:pt x="140" y="194"/>
                  </a:lnTo>
                  <a:lnTo>
                    <a:pt x="146" y="200"/>
                  </a:lnTo>
                  <a:lnTo>
                    <a:pt x="152" y="206"/>
                  </a:lnTo>
                  <a:lnTo>
                    <a:pt x="162" y="210"/>
                  </a:lnTo>
                  <a:lnTo>
                    <a:pt x="170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90" y="214"/>
                  </a:lnTo>
                  <a:lnTo>
                    <a:pt x="200" y="210"/>
                  </a:lnTo>
                  <a:lnTo>
                    <a:pt x="208" y="206"/>
                  </a:lnTo>
                  <a:lnTo>
                    <a:pt x="214" y="200"/>
                  </a:lnTo>
                  <a:lnTo>
                    <a:pt x="220" y="194"/>
                  </a:lnTo>
                  <a:lnTo>
                    <a:pt x="224" y="184"/>
                  </a:lnTo>
                  <a:lnTo>
                    <a:pt x="228" y="176"/>
                  </a:lnTo>
                  <a:lnTo>
                    <a:pt x="228" y="166"/>
                  </a:lnTo>
                  <a:lnTo>
                    <a:pt x="228" y="166"/>
                  </a:lnTo>
                  <a:lnTo>
                    <a:pt x="228" y="156"/>
                  </a:lnTo>
                  <a:lnTo>
                    <a:pt x="224" y="146"/>
                  </a:lnTo>
                  <a:lnTo>
                    <a:pt x="220" y="138"/>
                  </a:lnTo>
                  <a:lnTo>
                    <a:pt x="214" y="132"/>
                  </a:lnTo>
                  <a:lnTo>
                    <a:pt x="208" y="126"/>
                  </a:lnTo>
                  <a:lnTo>
                    <a:pt x="200" y="120"/>
                  </a:lnTo>
                  <a:lnTo>
                    <a:pt x="190" y="118"/>
                  </a:lnTo>
                  <a:lnTo>
                    <a:pt x="180" y="118"/>
                  </a:lnTo>
                  <a:close/>
                  <a:moveTo>
                    <a:pt x="296" y="260"/>
                  </a:moveTo>
                  <a:lnTo>
                    <a:pt x="296" y="260"/>
                  </a:lnTo>
                  <a:lnTo>
                    <a:pt x="294" y="258"/>
                  </a:lnTo>
                  <a:lnTo>
                    <a:pt x="294" y="258"/>
                  </a:lnTo>
                  <a:lnTo>
                    <a:pt x="292" y="252"/>
                  </a:lnTo>
                  <a:lnTo>
                    <a:pt x="288" y="246"/>
                  </a:lnTo>
                  <a:lnTo>
                    <a:pt x="278" y="236"/>
                  </a:lnTo>
                  <a:lnTo>
                    <a:pt x="266" y="230"/>
                  </a:lnTo>
                  <a:lnTo>
                    <a:pt x="250" y="228"/>
                  </a:lnTo>
                  <a:lnTo>
                    <a:pt x="210" y="228"/>
                  </a:lnTo>
                  <a:lnTo>
                    <a:pt x="180" y="278"/>
                  </a:lnTo>
                  <a:lnTo>
                    <a:pt x="150" y="228"/>
                  </a:lnTo>
                  <a:lnTo>
                    <a:pt x="110" y="228"/>
                  </a:lnTo>
                  <a:lnTo>
                    <a:pt x="110" y="228"/>
                  </a:lnTo>
                  <a:lnTo>
                    <a:pt x="94" y="230"/>
                  </a:lnTo>
                  <a:lnTo>
                    <a:pt x="82" y="236"/>
                  </a:lnTo>
                  <a:lnTo>
                    <a:pt x="72" y="246"/>
                  </a:lnTo>
                  <a:lnTo>
                    <a:pt x="68" y="252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4" y="260"/>
                  </a:lnTo>
                  <a:lnTo>
                    <a:pt x="52" y="336"/>
                  </a:lnTo>
                  <a:lnTo>
                    <a:pt x="52" y="336"/>
                  </a:lnTo>
                  <a:lnTo>
                    <a:pt x="72" y="352"/>
                  </a:lnTo>
                  <a:lnTo>
                    <a:pt x="96" y="362"/>
                  </a:lnTo>
                  <a:lnTo>
                    <a:pt x="106" y="304"/>
                  </a:lnTo>
                  <a:lnTo>
                    <a:pt x="118" y="304"/>
                  </a:lnTo>
                  <a:lnTo>
                    <a:pt x="114" y="370"/>
                  </a:lnTo>
                  <a:lnTo>
                    <a:pt x="114" y="370"/>
                  </a:lnTo>
                  <a:lnTo>
                    <a:pt x="130" y="374"/>
                  </a:lnTo>
                  <a:lnTo>
                    <a:pt x="146" y="378"/>
                  </a:lnTo>
                  <a:lnTo>
                    <a:pt x="162" y="380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96" y="380"/>
                  </a:lnTo>
                  <a:lnTo>
                    <a:pt x="214" y="378"/>
                  </a:lnTo>
                  <a:lnTo>
                    <a:pt x="230" y="374"/>
                  </a:lnTo>
                  <a:lnTo>
                    <a:pt x="246" y="370"/>
                  </a:lnTo>
                  <a:lnTo>
                    <a:pt x="242" y="304"/>
                  </a:lnTo>
                  <a:lnTo>
                    <a:pt x="254" y="304"/>
                  </a:lnTo>
                  <a:lnTo>
                    <a:pt x="264" y="362"/>
                  </a:lnTo>
                  <a:lnTo>
                    <a:pt x="264" y="362"/>
                  </a:lnTo>
                  <a:lnTo>
                    <a:pt x="288" y="350"/>
                  </a:lnTo>
                  <a:lnTo>
                    <a:pt x="308" y="336"/>
                  </a:lnTo>
                  <a:lnTo>
                    <a:pt x="296" y="2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78215" tIns="39108" rIns="78215" bIns="39108"/>
            <a:lstStyle/>
            <a:p>
              <a:pPr defTabSz="782154" latinLnBrk="1">
                <a:defRPr/>
              </a:pPr>
              <a:endParaRPr lang="en-GB" sz="1575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3" name="Freeform 4843"/>
            <p:cNvSpPr>
              <a:spLocks noEditPoints="1"/>
            </p:cNvSpPr>
            <p:nvPr/>
          </p:nvSpPr>
          <p:spPr bwMode="auto">
            <a:xfrm>
              <a:off x="774807" y="3815552"/>
              <a:ext cx="501629" cy="487303"/>
            </a:xfrm>
            <a:custGeom>
              <a:avLst/>
              <a:gdLst>
                <a:gd name="T0" fmla="*/ 376 w 412"/>
                <a:gd name="T1" fmla="*/ 96 h 400"/>
                <a:gd name="T2" fmla="*/ 382 w 412"/>
                <a:gd name="T3" fmla="*/ 126 h 400"/>
                <a:gd name="T4" fmla="*/ 356 w 412"/>
                <a:gd name="T5" fmla="*/ 144 h 400"/>
                <a:gd name="T6" fmla="*/ 328 w 412"/>
                <a:gd name="T7" fmla="*/ 116 h 400"/>
                <a:gd name="T8" fmla="*/ 344 w 412"/>
                <a:gd name="T9" fmla="*/ 90 h 400"/>
                <a:gd name="T10" fmla="*/ 374 w 412"/>
                <a:gd name="T11" fmla="*/ 156 h 400"/>
                <a:gd name="T12" fmla="*/ 320 w 412"/>
                <a:gd name="T13" fmla="*/ 156 h 400"/>
                <a:gd name="T14" fmla="*/ 314 w 412"/>
                <a:gd name="T15" fmla="*/ 204 h 400"/>
                <a:gd name="T16" fmla="*/ 370 w 412"/>
                <a:gd name="T17" fmla="*/ 268 h 400"/>
                <a:gd name="T18" fmla="*/ 404 w 412"/>
                <a:gd name="T19" fmla="*/ 246 h 400"/>
                <a:gd name="T20" fmla="*/ 410 w 412"/>
                <a:gd name="T21" fmla="*/ 166 h 400"/>
                <a:gd name="T22" fmla="*/ 398 w 412"/>
                <a:gd name="T23" fmla="*/ 156 h 400"/>
                <a:gd name="T24" fmla="*/ 98 w 412"/>
                <a:gd name="T25" fmla="*/ 156 h 400"/>
                <a:gd name="T26" fmla="*/ 56 w 412"/>
                <a:gd name="T27" fmla="*/ 182 h 400"/>
                <a:gd name="T28" fmla="*/ 14 w 412"/>
                <a:gd name="T29" fmla="*/ 156 h 400"/>
                <a:gd name="T30" fmla="*/ 2 w 412"/>
                <a:gd name="T31" fmla="*/ 166 h 400"/>
                <a:gd name="T32" fmla="*/ 8 w 412"/>
                <a:gd name="T33" fmla="*/ 246 h 400"/>
                <a:gd name="T34" fmla="*/ 42 w 412"/>
                <a:gd name="T35" fmla="*/ 268 h 400"/>
                <a:gd name="T36" fmla="*/ 98 w 412"/>
                <a:gd name="T37" fmla="*/ 204 h 400"/>
                <a:gd name="T38" fmla="*/ 172 w 412"/>
                <a:gd name="T39" fmla="*/ 50 h 400"/>
                <a:gd name="T40" fmla="*/ 192 w 412"/>
                <a:gd name="T41" fmla="*/ 68 h 400"/>
                <a:gd name="T42" fmla="*/ 214 w 412"/>
                <a:gd name="T43" fmla="*/ 70 h 400"/>
                <a:gd name="T44" fmla="*/ 236 w 412"/>
                <a:gd name="T45" fmla="*/ 56 h 400"/>
                <a:gd name="T46" fmla="*/ 242 w 412"/>
                <a:gd name="T47" fmla="*/ 36 h 400"/>
                <a:gd name="T48" fmla="*/ 232 w 412"/>
                <a:gd name="T49" fmla="*/ 10 h 400"/>
                <a:gd name="T50" fmla="*/ 206 w 412"/>
                <a:gd name="T51" fmla="*/ 0 h 400"/>
                <a:gd name="T52" fmla="*/ 186 w 412"/>
                <a:gd name="T53" fmla="*/ 6 h 400"/>
                <a:gd name="T54" fmla="*/ 170 w 412"/>
                <a:gd name="T55" fmla="*/ 28 h 400"/>
                <a:gd name="T56" fmla="*/ 206 w 412"/>
                <a:gd name="T57" fmla="*/ 400 h 400"/>
                <a:gd name="T58" fmla="*/ 296 w 412"/>
                <a:gd name="T59" fmla="*/ 378 h 400"/>
                <a:gd name="T60" fmla="*/ 366 w 412"/>
                <a:gd name="T61" fmla="*/ 322 h 400"/>
                <a:gd name="T62" fmla="*/ 320 w 412"/>
                <a:gd name="T63" fmla="*/ 250 h 400"/>
                <a:gd name="T64" fmla="*/ 244 w 412"/>
                <a:gd name="T65" fmla="*/ 200 h 400"/>
                <a:gd name="T66" fmla="*/ 206 w 412"/>
                <a:gd name="T67" fmla="*/ 194 h 400"/>
                <a:gd name="T68" fmla="*/ 158 w 412"/>
                <a:gd name="T69" fmla="*/ 234 h 400"/>
                <a:gd name="T70" fmla="*/ 140 w 412"/>
                <a:gd name="T71" fmla="*/ 262 h 400"/>
                <a:gd name="T72" fmla="*/ 118 w 412"/>
                <a:gd name="T73" fmla="*/ 262 h 400"/>
                <a:gd name="T74" fmla="*/ 100 w 412"/>
                <a:gd name="T75" fmla="*/ 244 h 400"/>
                <a:gd name="T76" fmla="*/ 46 w 412"/>
                <a:gd name="T77" fmla="*/ 322 h 400"/>
                <a:gd name="T78" fmla="*/ 96 w 412"/>
                <a:gd name="T79" fmla="*/ 368 h 400"/>
                <a:gd name="T80" fmla="*/ 182 w 412"/>
                <a:gd name="T81" fmla="*/ 398 h 400"/>
                <a:gd name="T82" fmla="*/ 28 w 412"/>
                <a:gd name="T83" fmla="*/ 116 h 400"/>
                <a:gd name="T84" fmla="*/ 56 w 412"/>
                <a:gd name="T85" fmla="*/ 144 h 400"/>
                <a:gd name="T86" fmla="*/ 82 w 412"/>
                <a:gd name="T87" fmla="*/ 126 h 400"/>
                <a:gd name="T88" fmla="*/ 76 w 412"/>
                <a:gd name="T89" fmla="*/ 96 h 400"/>
                <a:gd name="T90" fmla="*/ 46 w 412"/>
                <a:gd name="T91" fmla="*/ 90 h 400"/>
                <a:gd name="T92" fmla="*/ 28 w 412"/>
                <a:gd name="T93" fmla="*/ 116 h 400"/>
                <a:gd name="T94" fmla="*/ 300 w 412"/>
                <a:gd name="T95" fmla="*/ 116 h 400"/>
                <a:gd name="T96" fmla="*/ 298 w 412"/>
                <a:gd name="T97" fmla="*/ 102 h 400"/>
                <a:gd name="T98" fmla="*/ 268 w 412"/>
                <a:gd name="T99" fmla="*/ 82 h 400"/>
                <a:gd name="T100" fmla="*/ 144 w 412"/>
                <a:gd name="T101" fmla="*/ 82 h 400"/>
                <a:gd name="T102" fmla="*/ 122 w 412"/>
                <a:gd name="T103" fmla="*/ 92 h 400"/>
                <a:gd name="T104" fmla="*/ 112 w 412"/>
                <a:gd name="T105" fmla="*/ 116 h 400"/>
                <a:gd name="T106" fmla="*/ 114 w 412"/>
                <a:gd name="T107" fmla="*/ 240 h 400"/>
                <a:gd name="T108" fmla="*/ 128 w 412"/>
                <a:gd name="T109" fmla="*/ 248 h 400"/>
                <a:gd name="T110" fmla="*/ 144 w 412"/>
                <a:gd name="T111" fmla="*/ 234 h 400"/>
                <a:gd name="T112" fmla="*/ 154 w 412"/>
                <a:gd name="T113" fmla="*/ 140 h 400"/>
                <a:gd name="T114" fmla="*/ 158 w 412"/>
                <a:gd name="T115" fmla="*/ 170 h 400"/>
                <a:gd name="T116" fmla="*/ 230 w 412"/>
                <a:gd name="T117" fmla="*/ 164 h 400"/>
                <a:gd name="T118" fmla="*/ 254 w 412"/>
                <a:gd name="T119" fmla="*/ 150 h 400"/>
                <a:gd name="T120" fmla="*/ 268 w 412"/>
                <a:gd name="T121" fmla="*/ 176 h 400"/>
                <a:gd name="T122" fmla="*/ 300 w 412"/>
                <a:gd name="T123" fmla="*/ 19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2" h="400">
                  <a:moveTo>
                    <a:pt x="356" y="88"/>
                  </a:moveTo>
                  <a:lnTo>
                    <a:pt x="356" y="88"/>
                  </a:lnTo>
                  <a:lnTo>
                    <a:pt x="366" y="90"/>
                  </a:lnTo>
                  <a:lnTo>
                    <a:pt x="376" y="96"/>
                  </a:lnTo>
                  <a:lnTo>
                    <a:pt x="382" y="104"/>
                  </a:lnTo>
                  <a:lnTo>
                    <a:pt x="384" y="116"/>
                  </a:lnTo>
                  <a:lnTo>
                    <a:pt x="384" y="116"/>
                  </a:lnTo>
                  <a:lnTo>
                    <a:pt x="382" y="126"/>
                  </a:lnTo>
                  <a:lnTo>
                    <a:pt x="376" y="136"/>
                  </a:lnTo>
                  <a:lnTo>
                    <a:pt x="366" y="142"/>
                  </a:lnTo>
                  <a:lnTo>
                    <a:pt x="356" y="144"/>
                  </a:lnTo>
                  <a:lnTo>
                    <a:pt x="356" y="144"/>
                  </a:lnTo>
                  <a:lnTo>
                    <a:pt x="344" y="142"/>
                  </a:lnTo>
                  <a:lnTo>
                    <a:pt x="336" y="136"/>
                  </a:lnTo>
                  <a:lnTo>
                    <a:pt x="330" y="126"/>
                  </a:lnTo>
                  <a:lnTo>
                    <a:pt x="328" y="116"/>
                  </a:lnTo>
                  <a:lnTo>
                    <a:pt x="328" y="116"/>
                  </a:lnTo>
                  <a:lnTo>
                    <a:pt x="330" y="104"/>
                  </a:lnTo>
                  <a:lnTo>
                    <a:pt x="336" y="96"/>
                  </a:lnTo>
                  <a:lnTo>
                    <a:pt x="344" y="90"/>
                  </a:lnTo>
                  <a:lnTo>
                    <a:pt x="356" y="88"/>
                  </a:lnTo>
                  <a:lnTo>
                    <a:pt x="356" y="88"/>
                  </a:lnTo>
                  <a:close/>
                  <a:moveTo>
                    <a:pt x="392" y="156"/>
                  </a:moveTo>
                  <a:lnTo>
                    <a:pt x="374" y="156"/>
                  </a:lnTo>
                  <a:lnTo>
                    <a:pt x="356" y="182"/>
                  </a:lnTo>
                  <a:lnTo>
                    <a:pt x="338" y="156"/>
                  </a:lnTo>
                  <a:lnTo>
                    <a:pt x="320" y="156"/>
                  </a:lnTo>
                  <a:lnTo>
                    <a:pt x="320" y="156"/>
                  </a:lnTo>
                  <a:lnTo>
                    <a:pt x="314" y="156"/>
                  </a:lnTo>
                  <a:lnTo>
                    <a:pt x="314" y="156"/>
                  </a:lnTo>
                  <a:lnTo>
                    <a:pt x="314" y="158"/>
                  </a:lnTo>
                  <a:lnTo>
                    <a:pt x="314" y="204"/>
                  </a:lnTo>
                  <a:lnTo>
                    <a:pt x="314" y="204"/>
                  </a:lnTo>
                  <a:lnTo>
                    <a:pt x="336" y="224"/>
                  </a:lnTo>
                  <a:lnTo>
                    <a:pt x="354" y="244"/>
                  </a:lnTo>
                  <a:lnTo>
                    <a:pt x="370" y="268"/>
                  </a:lnTo>
                  <a:lnTo>
                    <a:pt x="386" y="294"/>
                  </a:lnTo>
                  <a:lnTo>
                    <a:pt x="386" y="294"/>
                  </a:lnTo>
                  <a:lnTo>
                    <a:pt x="396" y="270"/>
                  </a:lnTo>
                  <a:lnTo>
                    <a:pt x="404" y="246"/>
                  </a:lnTo>
                  <a:lnTo>
                    <a:pt x="410" y="220"/>
                  </a:lnTo>
                  <a:lnTo>
                    <a:pt x="412" y="194"/>
                  </a:lnTo>
                  <a:lnTo>
                    <a:pt x="412" y="194"/>
                  </a:lnTo>
                  <a:lnTo>
                    <a:pt x="410" y="166"/>
                  </a:lnTo>
                  <a:lnTo>
                    <a:pt x="410" y="166"/>
                  </a:lnTo>
                  <a:lnTo>
                    <a:pt x="406" y="162"/>
                  </a:lnTo>
                  <a:lnTo>
                    <a:pt x="402" y="158"/>
                  </a:lnTo>
                  <a:lnTo>
                    <a:pt x="398" y="156"/>
                  </a:lnTo>
                  <a:lnTo>
                    <a:pt x="392" y="156"/>
                  </a:lnTo>
                  <a:lnTo>
                    <a:pt x="392" y="156"/>
                  </a:lnTo>
                  <a:close/>
                  <a:moveTo>
                    <a:pt x="98" y="204"/>
                  </a:moveTo>
                  <a:lnTo>
                    <a:pt x="98" y="156"/>
                  </a:lnTo>
                  <a:lnTo>
                    <a:pt x="98" y="156"/>
                  </a:lnTo>
                  <a:lnTo>
                    <a:pt x="92" y="156"/>
                  </a:lnTo>
                  <a:lnTo>
                    <a:pt x="74" y="156"/>
                  </a:lnTo>
                  <a:lnTo>
                    <a:pt x="56" y="182"/>
                  </a:lnTo>
                  <a:lnTo>
                    <a:pt x="38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14" y="156"/>
                  </a:lnTo>
                  <a:lnTo>
                    <a:pt x="10" y="158"/>
                  </a:lnTo>
                  <a:lnTo>
                    <a:pt x="6" y="162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2" y="220"/>
                  </a:lnTo>
                  <a:lnTo>
                    <a:pt x="8" y="246"/>
                  </a:lnTo>
                  <a:lnTo>
                    <a:pt x="16" y="270"/>
                  </a:lnTo>
                  <a:lnTo>
                    <a:pt x="26" y="294"/>
                  </a:lnTo>
                  <a:lnTo>
                    <a:pt x="26" y="294"/>
                  </a:lnTo>
                  <a:lnTo>
                    <a:pt x="42" y="268"/>
                  </a:lnTo>
                  <a:lnTo>
                    <a:pt x="58" y="244"/>
                  </a:lnTo>
                  <a:lnTo>
                    <a:pt x="76" y="224"/>
                  </a:lnTo>
                  <a:lnTo>
                    <a:pt x="98" y="204"/>
                  </a:lnTo>
                  <a:lnTo>
                    <a:pt x="98" y="204"/>
                  </a:lnTo>
                  <a:close/>
                  <a:moveTo>
                    <a:pt x="170" y="36"/>
                  </a:moveTo>
                  <a:lnTo>
                    <a:pt x="170" y="36"/>
                  </a:lnTo>
                  <a:lnTo>
                    <a:pt x="170" y="42"/>
                  </a:lnTo>
                  <a:lnTo>
                    <a:pt x="172" y="50"/>
                  </a:lnTo>
                  <a:lnTo>
                    <a:pt x="176" y="56"/>
                  </a:lnTo>
                  <a:lnTo>
                    <a:pt x="180" y="60"/>
                  </a:lnTo>
                  <a:lnTo>
                    <a:pt x="186" y="66"/>
                  </a:lnTo>
                  <a:lnTo>
                    <a:pt x="192" y="68"/>
                  </a:lnTo>
                  <a:lnTo>
                    <a:pt x="198" y="70"/>
                  </a:lnTo>
                  <a:lnTo>
                    <a:pt x="206" y="72"/>
                  </a:lnTo>
                  <a:lnTo>
                    <a:pt x="206" y="72"/>
                  </a:lnTo>
                  <a:lnTo>
                    <a:pt x="214" y="70"/>
                  </a:lnTo>
                  <a:lnTo>
                    <a:pt x="220" y="68"/>
                  </a:lnTo>
                  <a:lnTo>
                    <a:pt x="226" y="66"/>
                  </a:lnTo>
                  <a:lnTo>
                    <a:pt x="232" y="60"/>
                  </a:lnTo>
                  <a:lnTo>
                    <a:pt x="236" y="56"/>
                  </a:lnTo>
                  <a:lnTo>
                    <a:pt x="240" y="50"/>
                  </a:lnTo>
                  <a:lnTo>
                    <a:pt x="242" y="42"/>
                  </a:lnTo>
                  <a:lnTo>
                    <a:pt x="242" y="36"/>
                  </a:lnTo>
                  <a:lnTo>
                    <a:pt x="242" y="36"/>
                  </a:lnTo>
                  <a:lnTo>
                    <a:pt x="242" y="28"/>
                  </a:lnTo>
                  <a:lnTo>
                    <a:pt x="240" y="22"/>
                  </a:lnTo>
                  <a:lnTo>
                    <a:pt x="236" y="16"/>
                  </a:lnTo>
                  <a:lnTo>
                    <a:pt x="232" y="10"/>
                  </a:lnTo>
                  <a:lnTo>
                    <a:pt x="226" y="6"/>
                  </a:lnTo>
                  <a:lnTo>
                    <a:pt x="220" y="2"/>
                  </a:lnTo>
                  <a:lnTo>
                    <a:pt x="214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198" y="0"/>
                  </a:lnTo>
                  <a:lnTo>
                    <a:pt x="192" y="2"/>
                  </a:lnTo>
                  <a:lnTo>
                    <a:pt x="186" y="6"/>
                  </a:lnTo>
                  <a:lnTo>
                    <a:pt x="180" y="10"/>
                  </a:lnTo>
                  <a:lnTo>
                    <a:pt x="176" y="16"/>
                  </a:lnTo>
                  <a:lnTo>
                    <a:pt x="172" y="22"/>
                  </a:lnTo>
                  <a:lnTo>
                    <a:pt x="170" y="28"/>
                  </a:lnTo>
                  <a:lnTo>
                    <a:pt x="170" y="36"/>
                  </a:lnTo>
                  <a:lnTo>
                    <a:pt x="170" y="36"/>
                  </a:lnTo>
                  <a:close/>
                  <a:moveTo>
                    <a:pt x="206" y="400"/>
                  </a:moveTo>
                  <a:lnTo>
                    <a:pt x="206" y="400"/>
                  </a:lnTo>
                  <a:lnTo>
                    <a:pt x="230" y="398"/>
                  </a:lnTo>
                  <a:lnTo>
                    <a:pt x="254" y="394"/>
                  </a:lnTo>
                  <a:lnTo>
                    <a:pt x="276" y="388"/>
                  </a:lnTo>
                  <a:lnTo>
                    <a:pt x="296" y="378"/>
                  </a:lnTo>
                  <a:lnTo>
                    <a:pt x="316" y="368"/>
                  </a:lnTo>
                  <a:lnTo>
                    <a:pt x="334" y="354"/>
                  </a:lnTo>
                  <a:lnTo>
                    <a:pt x="352" y="338"/>
                  </a:lnTo>
                  <a:lnTo>
                    <a:pt x="366" y="322"/>
                  </a:lnTo>
                  <a:lnTo>
                    <a:pt x="366" y="322"/>
                  </a:lnTo>
                  <a:lnTo>
                    <a:pt x="352" y="296"/>
                  </a:lnTo>
                  <a:lnTo>
                    <a:pt x="336" y="272"/>
                  </a:lnTo>
                  <a:lnTo>
                    <a:pt x="320" y="250"/>
                  </a:lnTo>
                  <a:lnTo>
                    <a:pt x="300" y="232"/>
                  </a:lnTo>
                  <a:lnTo>
                    <a:pt x="280" y="216"/>
                  </a:lnTo>
                  <a:lnTo>
                    <a:pt x="256" y="204"/>
                  </a:lnTo>
                  <a:lnTo>
                    <a:pt x="244" y="200"/>
                  </a:lnTo>
                  <a:lnTo>
                    <a:pt x="232" y="196"/>
                  </a:lnTo>
                  <a:lnTo>
                    <a:pt x="220" y="194"/>
                  </a:lnTo>
                  <a:lnTo>
                    <a:pt x="206" y="194"/>
                  </a:lnTo>
                  <a:lnTo>
                    <a:pt x="206" y="194"/>
                  </a:lnTo>
                  <a:lnTo>
                    <a:pt x="182" y="196"/>
                  </a:lnTo>
                  <a:lnTo>
                    <a:pt x="158" y="202"/>
                  </a:lnTo>
                  <a:lnTo>
                    <a:pt x="158" y="234"/>
                  </a:lnTo>
                  <a:lnTo>
                    <a:pt x="158" y="234"/>
                  </a:lnTo>
                  <a:lnTo>
                    <a:pt x="158" y="240"/>
                  </a:lnTo>
                  <a:lnTo>
                    <a:pt x="156" y="244"/>
                  </a:lnTo>
                  <a:lnTo>
                    <a:pt x="150" y="254"/>
                  </a:lnTo>
                  <a:lnTo>
                    <a:pt x="140" y="262"/>
                  </a:lnTo>
                  <a:lnTo>
                    <a:pt x="134" y="264"/>
                  </a:lnTo>
                  <a:lnTo>
                    <a:pt x="128" y="264"/>
                  </a:lnTo>
                  <a:lnTo>
                    <a:pt x="128" y="264"/>
                  </a:lnTo>
                  <a:lnTo>
                    <a:pt x="118" y="262"/>
                  </a:lnTo>
                  <a:lnTo>
                    <a:pt x="110" y="258"/>
                  </a:lnTo>
                  <a:lnTo>
                    <a:pt x="104" y="252"/>
                  </a:lnTo>
                  <a:lnTo>
                    <a:pt x="100" y="244"/>
                  </a:lnTo>
                  <a:lnTo>
                    <a:pt x="100" y="244"/>
                  </a:lnTo>
                  <a:lnTo>
                    <a:pt x="84" y="260"/>
                  </a:lnTo>
                  <a:lnTo>
                    <a:pt x="70" y="280"/>
                  </a:lnTo>
                  <a:lnTo>
                    <a:pt x="58" y="300"/>
                  </a:lnTo>
                  <a:lnTo>
                    <a:pt x="46" y="322"/>
                  </a:lnTo>
                  <a:lnTo>
                    <a:pt x="46" y="322"/>
                  </a:lnTo>
                  <a:lnTo>
                    <a:pt x="60" y="338"/>
                  </a:lnTo>
                  <a:lnTo>
                    <a:pt x="78" y="354"/>
                  </a:lnTo>
                  <a:lnTo>
                    <a:pt x="96" y="368"/>
                  </a:lnTo>
                  <a:lnTo>
                    <a:pt x="116" y="378"/>
                  </a:lnTo>
                  <a:lnTo>
                    <a:pt x="136" y="388"/>
                  </a:lnTo>
                  <a:lnTo>
                    <a:pt x="158" y="394"/>
                  </a:lnTo>
                  <a:lnTo>
                    <a:pt x="182" y="398"/>
                  </a:lnTo>
                  <a:lnTo>
                    <a:pt x="206" y="400"/>
                  </a:lnTo>
                  <a:lnTo>
                    <a:pt x="206" y="400"/>
                  </a:lnTo>
                  <a:close/>
                  <a:moveTo>
                    <a:pt x="28" y="116"/>
                  </a:moveTo>
                  <a:lnTo>
                    <a:pt x="28" y="116"/>
                  </a:lnTo>
                  <a:lnTo>
                    <a:pt x="30" y="126"/>
                  </a:lnTo>
                  <a:lnTo>
                    <a:pt x="36" y="136"/>
                  </a:lnTo>
                  <a:lnTo>
                    <a:pt x="46" y="142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68" y="142"/>
                  </a:lnTo>
                  <a:lnTo>
                    <a:pt x="76" y="136"/>
                  </a:lnTo>
                  <a:lnTo>
                    <a:pt x="82" y="126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2" y="104"/>
                  </a:lnTo>
                  <a:lnTo>
                    <a:pt x="76" y="96"/>
                  </a:lnTo>
                  <a:lnTo>
                    <a:pt x="68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46" y="90"/>
                  </a:lnTo>
                  <a:lnTo>
                    <a:pt x="36" y="96"/>
                  </a:lnTo>
                  <a:lnTo>
                    <a:pt x="30" y="104"/>
                  </a:lnTo>
                  <a:lnTo>
                    <a:pt x="28" y="116"/>
                  </a:lnTo>
                  <a:lnTo>
                    <a:pt x="28" y="116"/>
                  </a:lnTo>
                  <a:close/>
                  <a:moveTo>
                    <a:pt x="300" y="192"/>
                  </a:moveTo>
                  <a:lnTo>
                    <a:pt x="300" y="116"/>
                  </a:lnTo>
                  <a:lnTo>
                    <a:pt x="300" y="116"/>
                  </a:lnTo>
                  <a:lnTo>
                    <a:pt x="300" y="116"/>
                  </a:lnTo>
                  <a:lnTo>
                    <a:pt x="300" y="114"/>
                  </a:lnTo>
                  <a:lnTo>
                    <a:pt x="300" y="114"/>
                  </a:lnTo>
                  <a:lnTo>
                    <a:pt x="300" y="108"/>
                  </a:lnTo>
                  <a:lnTo>
                    <a:pt x="298" y="102"/>
                  </a:lnTo>
                  <a:lnTo>
                    <a:pt x="290" y="92"/>
                  </a:lnTo>
                  <a:lnTo>
                    <a:pt x="280" y="84"/>
                  </a:lnTo>
                  <a:lnTo>
                    <a:pt x="274" y="82"/>
                  </a:lnTo>
                  <a:lnTo>
                    <a:pt x="268" y="82"/>
                  </a:lnTo>
                  <a:lnTo>
                    <a:pt x="232" y="82"/>
                  </a:lnTo>
                  <a:lnTo>
                    <a:pt x="206" y="116"/>
                  </a:lnTo>
                  <a:lnTo>
                    <a:pt x="180" y="82"/>
                  </a:lnTo>
                  <a:lnTo>
                    <a:pt x="144" y="82"/>
                  </a:lnTo>
                  <a:lnTo>
                    <a:pt x="144" y="82"/>
                  </a:lnTo>
                  <a:lnTo>
                    <a:pt x="138" y="82"/>
                  </a:lnTo>
                  <a:lnTo>
                    <a:pt x="132" y="84"/>
                  </a:lnTo>
                  <a:lnTo>
                    <a:pt x="122" y="92"/>
                  </a:lnTo>
                  <a:lnTo>
                    <a:pt x="114" y="102"/>
                  </a:lnTo>
                  <a:lnTo>
                    <a:pt x="112" y="108"/>
                  </a:lnTo>
                  <a:lnTo>
                    <a:pt x="112" y="114"/>
                  </a:lnTo>
                  <a:lnTo>
                    <a:pt x="112" y="116"/>
                  </a:lnTo>
                  <a:lnTo>
                    <a:pt x="112" y="130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14" y="240"/>
                  </a:lnTo>
                  <a:lnTo>
                    <a:pt x="116" y="244"/>
                  </a:lnTo>
                  <a:lnTo>
                    <a:pt x="122" y="248"/>
                  </a:lnTo>
                  <a:lnTo>
                    <a:pt x="128" y="248"/>
                  </a:lnTo>
                  <a:lnTo>
                    <a:pt x="128" y="248"/>
                  </a:lnTo>
                  <a:lnTo>
                    <a:pt x="134" y="248"/>
                  </a:lnTo>
                  <a:lnTo>
                    <a:pt x="138" y="244"/>
                  </a:lnTo>
                  <a:lnTo>
                    <a:pt x="142" y="240"/>
                  </a:lnTo>
                  <a:lnTo>
                    <a:pt x="144" y="234"/>
                  </a:lnTo>
                  <a:lnTo>
                    <a:pt x="144" y="130"/>
                  </a:lnTo>
                  <a:lnTo>
                    <a:pt x="144" y="130"/>
                  </a:lnTo>
                  <a:lnTo>
                    <a:pt x="150" y="134"/>
                  </a:lnTo>
                  <a:lnTo>
                    <a:pt x="154" y="140"/>
                  </a:lnTo>
                  <a:lnTo>
                    <a:pt x="158" y="148"/>
                  </a:lnTo>
                  <a:lnTo>
                    <a:pt x="158" y="156"/>
                  </a:lnTo>
                  <a:lnTo>
                    <a:pt x="158" y="170"/>
                  </a:lnTo>
                  <a:lnTo>
                    <a:pt x="158" y="170"/>
                  </a:lnTo>
                  <a:lnTo>
                    <a:pt x="182" y="164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30" y="164"/>
                  </a:lnTo>
                  <a:lnTo>
                    <a:pt x="254" y="170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4" y="150"/>
                  </a:lnTo>
                  <a:lnTo>
                    <a:pt x="258" y="142"/>
                  </a:lnTo>
                  <a:lnTo>
                    <a:pt x="262" y="136"/>
                  </a:lnTo>
                  <a:lnTo>
                    <a:pt x="268" y="132"/>
                  </a:lnTo>
                  <a:lnTo>
                    <a:pt x="268" y="176"/>
                  </a:lnTo>
                  <a:lnTo>
                    <a:pt x="268" y="176"/>
                  </a:lnTo>
                  <a:lnTo>
                    <a:pt x="284" y="184"/>
                  </a:lnTo>
                  <a:lnTo>
                    <a:pt x="300" y="192"/>
                  </a:lnTo>
                  <a:lnTo>
                    <a:pt x="300" y="1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Freeform 4846"/>
            <p:cNvSpPr>
              <a:spLocks noEditPoints="1"/>
            </p:cNvSpPr>
            <p:nvPr/>
          </p:nvSpPr>
          <p:spPr bwMode="auto">
            <a:xfrm>
              <a:off x="679552" y="4448115"/>
              <a:ext cx="646087" cy="534923"/>
            </a:xfrm>
            <a:custGeom>
              <a:avLst/>
              <a:gdLst>
                <a:gd name="T0" fmla="*/ 234 w 388"/>
                <a:gd name="T1" fmla="*/ 108 h 320"/>
                <a:gd name="T2" fmla="*/ 206 w 388"/>
                <a:gd name="T3" fmla="*/ 22 h 320"/>
                <a:gd name="T4" fmla="*/ 150 w 388"/>
                <a:gd name="T5" fmla="*/ 24 h 320"/>
                <a:gd name="T6" fmla="*/ 110 w 388"/>
                <a:gd name="T7" fmla="*/ 24 h 320"/>
                <a:gd name="T8" fmla="*/ 24 w 388"/>
                <a:gd name="T9" fmla="*/ 52 h 320"/>
                <a:gd name="T10" fmla="*/ 26 w 388"/>
                <a:gd name="T11" fmla="*/ 108 h 320"/>
                <a:gd name="T12" fmla="*/ 26 w 388"/>
                <a:gd name="T13" fmla="*/ 148 h 320"/>
                <a:gd name="T14" fmla="*/ 52 w 388"/>
                <a:gd name="T15" fmla="*/ 234 h 320"/>
                <a:gd name="T16" fmla="*/ 110 w 388"/>
                <a:gd name="T17" fmla="*/ 232 h 320"/>
                <a:gd name="T18" fmla="*/ 150 w 388"/>
                <a:gd name="T19" fmla="*/ 232 h 320"/>
                <a:gd name="T20" fmla="*/ 236 w 388"/>
                <a:gd name="T21" fmla="*/ 206 h 320"/>
                <a:gd name="T22" fmla="*/ 234 w 388"/>
                <a:gd name="T23" fmla="*/ 148 h 320"/>
                <a:gd name="T24" fmla="*/ 114 w 388"/>
                <a:gd name="T25" fmla="*/ 208 h 320"/>
                <a:gd name="T26" fmla="*/ 62 w 388"/>
                <a:gd name="T27" fmla="*/ 174 h 320"/>
                <a:gd name="T28" fmla="*/ 48 w 388"/>
                <a:gd name="T29" fmla="*/ 128 h 320"/>
                <a:gd name="T30" fmla="*/ 72 w 388"/>
                <a:gd name="T31" fmla="*/ 70 h 320"/>
                <a:gd name="T32" fmla="*/ 130 w 388"/>
                <a:gd name="T33" fmla="*/ 46 h 320"/>
                <a:gd name="T34" fmla="*/ 176 w 388"/>
                <a:gd name="T35" fmla="*/ 60 h 320"/>
                <a:gd name="T36" fmla="*/ 210 w 388"/>
                <a:gd name="T37" fmla="*/ 112 h 320"/>
                <a:gd name="T38" fmla="*/ 206 w 388"/>
                <a:gd name="T39" fmla="*/ 160 h 320"/>
                <a:gd name="T40" fmla="*/ 162 w 388"/>
                <a:gd name="T41" fmla="*/ 204 h 320"/>
                <a:gd name="T42" fmla="*/ 130 w 388"/>
                <a:gd name="T43" fmla="*/ 66 h 320"/>
                <a:gd name="T44" fmla="*/ 94 w 388"/>
                <a:gd name="T45" fmla="*/ 76 h 320"/>
                <a:gd name="T46" fmla="*/ 68 w 388"/>
                <a:gd name="T47" fmla="*/ 116 h 320"/>
                <a:gd name="T48" fmla="*/ 72 w 388"/>
                <a:gd name="T49" fmla="*/ 152 h 320"/>
                <a:gd name="T50" fmla="*/ 106 w 388"/>
                <a:gd name="T51" fmla="*/ 186 h 320"/>
                <a:gd name="T52" fmla="*/ 142 w 388"/>
                <a:gd name="T53" fmla="*/ 190 h 320"/>
                <a:gd name="T54" fmla="*/ 182 w 388"/>
                <a:gd name="T55" fmla="*/ 162 h 320"/>
                <a:gd name="T56" fmla="*/ 192 w 388"/>
                <a:gd name="T57" fmla="*/ 128 h 320"/>
                <a:gd name="T58" fmla="*/ 174 w 388"/>
                <a:gd name="T59" fmla="*/ 84 h 320"/>
                <a:gd name="T60" fmla="*/ 130 w 388"/>
                <a:gd name="T61" fmla="*/ 66 h 320"/>
                <a:gd name="T62" fmla="*/ 120 w 388"/>
                <a:gd name="T63" fmla="*/ 152 h 320"/>
                <a:gd name="T64" fmla="*/ 102 w 388"/>
                <a:gd name="T65" fmla="*/ 128 h 320"/>
                <a:gd name="T66" fmla="*/ 130 w 388"/>
                <a:gd name="T67" fmla="*/ 102 h 320"/>
                <a:gd name="T68" fmla="*/ 154 w 388"/>
                <a:gd name="T69" fmla="*/ 118 h 320"/>
                <a:gd name="T70" fmla="*/ 148 w 388"/>
                <a:gd name="T71" fmla="*/ 148 h 320"/>
                <a:gd name="T72" fmla="*/ 370 w 388"/>
                <a:gd name="T73" fmla="*/ 248 h 320"/>
                <a:gd name="T74" fmla="*/ 364 w 388"/>
                <a:gd name="T75" fmla="*/ 214 h 320"/>
                <a:gd name="T76" fmla="*/ 320 w 388"/>
                <a:gd name="T77" fmla="*/ 162 h 320"/>
                <a:gd name="T78" fmla="*/ 286 w 388"/>
                <a:gd name="T79" fmla="*/ 186 h 320"/>
                <a:gd name="T80" fmla="*/ 260 w 388"/>
                <a:gd name="T81" fmla="*/ 208 h 320"/>
                <a:gd name="T82" fmla="*/ 236 w 388"/>
                <a:gd name="T83" fmla="*/ 272 h 320"/>
                <a:gd name="T84" fmla="*/ 274 w 388"/>
                <a:gd name="T85" fmla="*/ 290 h 320"/>
                <a:gd name="T86" fmla="*/ 306 w 388"/>
                <a:gd name="T87" fmla="*/ 302 h 320"/>
                <a:gd name="T88" fmla="*/ 372 w 388"/>
                <a:gd name="T89" fmla="*/ 290 h 320"/>
                <a:gd name="T90" fmla="*/ 370 w 388"/>
                <a:gd name="T91" fmla="*/ 248 h 320"/>
                <a:gd name="T92" fmla="*/ 310 w 388"/>
                <a:gd name="T93" fmla="*/ 266 h 320"/>
                <a:gd name="T94" fmla="*/ 288 w 388"/>
                <a:gd name="T95" fmla="*/ 252 h 320"/>
                <a:gd name="T96" fmla="*/ 300 w 388"/>
                <a:gd name="T97" fmla="*/ 220 h 320"/>
                <a:gd name="T98" fmla="*/ 326 w 388"/>
                <a:gd name="T99" fmla="*/ 224 h 320"/>
                <a:gd name="T100" fmla="*/ 332 w 388"/>
                <a:gd name="T101" fmla="*/ 25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8" h="320">
                  <a:moveTo>
                    <a:pt x="258" y="148"/>
                  </a:moveTo>
                  <a:lnTo>
                    <a:pt x="258" y="108"/>
                  </a:lnTo>
                  <a:lnTo>
                    <a:pt x="234" y="108"/>
                  </a:lnTo>
                  <a:lnTo>
                    <a:pt x="234" y="108"/>
                  </a:lnTo>
                  <a:lnTo>
                    <a:pt x="226" y="88"/>
                  </a:lnTo>
                  <a:lnTo>
                    <a:pt x="216" y="70"/>
                  </a:lnTo>
                  <a:lnTo>
                    <a:pt x="236" y="52"/>
                  </a:lnTo>
                  <a:lnTo>
                    <a:pt x="206" y="22"/>
                  </a:lnTo>
                  <a:lnTo>
                    <a:pt x="188" y="40"/>
                  </a:lnTo>
                  <a:lnTo>
                    <a:pt x="188" y="40"/>
                  </a:lnTo>
                  <a:lnTo>
                    <a:pt x="170" y="30"/>
                  </a:lnTo>
                  <a:lnTo>
                    <a:pt x="150" y="24"/>
                  </a:lnTo>
                  <a:lnTo>
                    <a:pt x="150" y="0"/>
                  </a:lnTo>
                  <a:lnTo>
                    <a:pt x="110" y="0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90" y="30"/>
                  </a:lnTo>
                  <a:lnTo>
                    <a:pt x="70" y="40"/>
                  </a:lnTo>
                  <a:lnTo>
                    <a:pt x="52" y="22"/>
                  </a:lnTo>
                  <a:lnTo>
                    <a:pt x="24" y="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32" y="88"/>
                  </a:lnTo>
                  <a:lnTo>
                    <a:pt x="26" y="108"/>
                  </a:lnTo>
                  <a:lnTo>
                    <a:pt x="0" y="108"/>
                  </a:lnTo>
                  <a:lnTo>
                    <a:pt x="0" y="148"/>
                  </a:lnTo>
                  <a:lnTo>
                    <a:pt x="26" y="148"/>
                  </a:lnTo>
                  <a:lnTo>
                    <a:pt x="26" y="148"/>
                  </a:lnTo>
                  <a:lnTo>
                    <a:pt x="32" y="168"/>
                  </a:lnTo>
                  <a:lnTo>
                    <a:pt x="42" y="188"/>
                  </a:lnTo>
                  <a:lnTo>
                    <a:pt x="24" y="206"/>
                  </a:lnTo>
                  <a:lnTo>
                    <a:pt x="52" y="234"/>
                  </a:lnTo>
                  <a:lnTo>
                    <a:pt x="70" y="216"/>
                  </a:lnTo>
                  <a:lnTo>
                    <a:pt x="70" y="216"/>
                  </a:lnTo>
                  <a:lnTo>
                    <a:pt x="90" y="226"/>
                  </a:lnTo>
                  <a:lnTo>
                    <a:pt x="110" y="232"/>
                  </a:lnTo>
                  <a:lnTo>
                    <a:pt x="110" y="258"/>
                  </a:lnTo>
                  <a:lnTo>
                    <a:pt x="150" y="258"/>
                  </a:lnTo>
                  <a:lnTo>
                    <a:pt x="150" y="232"/>
                  </a:lnTo>
                  <a:lnTo>
                    <a:pt x="150" y="232"/>
                  </a:lnTo>
                  <a:lnTo>
                    <a:pt x="170" y="226"/>
                  </a:lnTo>
                  <a:lnTo>
                    <a:pt x="188" y="216"/>
                  </a:lnTo>
                  <a:lnTo>
                    <a:pt x="206" y="234"/>
                  </a:lnTo>
                  <a:lnTo>
                    <a:pt x="236" y="206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26" y="168"/>
                  </a:lnTo>
                  <a:lnTo>
                    <a:pt x="234" y="148"/>
                  </a:lnTo>
                  <a:lnTo>
                    <a:pt x="258" y="148"/>
                  </a:lnTo>
                  <a:close/>
                  <a:moveTo>
                    <a:pt x="130" y="210"/>
                  </a:moveTo>
                  <a:lnTo>
                    <a:pt x="130" y="210"/>
                  </a:lnTo>
                  <a:lnTo>
                    <a:pt x="114" y="208"/>
                  </a:lnTo>
                  <a:lnTo>
                    <a:pt x="98" y="204"/>
                  </a:lnTo>
                  <a:lnTo>
                    <a:pt x="84" y="196"/>
                  </a:lnTo>
                  <a:lnTo>
                    <a:pt x="72" y="186"/>
                  </a:lnTo>
                  <a:lnTo>
                    <a:pt x="62" y="174"/>
                  </a:lnTo>
                  <a:lnTo>
                    <a:pt x="54" y="160"/>
                  </a:lnTo>
                  <a:lnTo>
                    <a:pt x="50" y="144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0" y="112"/>
                  </a:lnTo>
                  <a:lnTo>
                    <a:pt x="54" y="96"/>
                  </a:lnTo>
                  <a:lnTo>
                    <a:pt x="62" y="82"/>
                  </a:lnTo>
                  <a:lnTo>
                    <a:pt x="72" y="70"/>
                  </a:lnTo>
                  <a:lnTo>
                    <a:pt x="84" y="60"/>
                  </a:lnTo>
                  <a:lnTo>
                    <a:pt x="98" y="52"/>
                  </a:lnTo>
                  <a:lnTo>
                    <a:pt x="114" y="48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46" y="48"/>
                  </a:lnTo>
                  <a:lnTo>
                    <a:pt x="162" y="52"/>
                  </a:lnTo>
                  <a:lnTo>
                    <a:pt x="176" y="60"/>
                  </a:lnTo>
                  <a:lnTo>
                    <a:pt x="188" y="70"/>
                  </a:lnTo>
                  <a:lnTo>
                    <a:pt x="198" y="82"/>
                  </a:lnTo>
                  <a:lnTo>
                    <a:pt x="206" y="96"/>
                  </a:lnTo>
                  <a:lnTo>
                    <a:pt x="210" y="112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0" y="144"/>
                  </a:lnTo>
                  <a:lnTo>
                    <a:pt x="206" y="160"/>
                  </a:lnTo>
                  <a:lnTo>
                    <a:pt x="198" y="174"/>
                  </a:lnTo>
                  <a:lnTo>
                    <a:pt x="188" y="186"/>
                  </a:lnTo>
                  <a:lnTo>
                    <a:pt x="176" y="196"/>
                  </a:lnTo>
                  <a:lnTo>
                    <a:pt x="162" y="204"/>
                  </a:lnTo>
                  <a:lnTo>
                    <a:pt x="146" y="208"/>
                  </a:lnTo>
                  <a:lnTo>
                    <a:pt x="130" y="210"/>
                  </a:lnTo>
                  <a:lnTo>
                    <a:pt x="130" y="210"/>
                  </a:lnTo>
                  <a:close/>
                  <a:moveTo>
                    <a:pt x="130" y="66"/>
                  </a:moveTo>
                  <a:lnTo>
                    <a:pt x="130" y="66"/>
                  </a:lnTo>
                  <a:lnTo>
                    <a:pt x="118" y="68"/>
                  </a:lnTo>
                  <a:lnTo>
                    <a:pt x="106" y="70"/>
                  </a:lnTo>
                  <a:lnTo>
                    <a:pt x="94" y="76"/>
                  </a:lnTo>
                  <a:lnTo>
                    <a:pt x="86" y="84"/>
                  </a:lnTo>
                  <a:lnTo>
                    <a:pt x="78" y="94"/>
                  </a:lnTo>
                  <a:lnTo>
                    <a:pt x="72" y="104"/>
                  </a:lnTo>
                  <a:lnTo>
                    <a:pt x="68" y="116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40"/>
                  </a:lnTo>
                  <a:lnTo>
                    <a:pt x="72" y="152"/>
                  </a:lnTo>
                  <a:lnTo>
                    <a:pt x="78" y="162"/>
                  </a:lnTo>
                  <a:lnTo>
                    <a:pt x="86" y="172"/>
                  </a:lnTo>
                  <a:lnTo>
                    <a:pt x="94" y="180"/>
                  </a:lnTo>
                  <a:lnTo>
                    <a:pt x="106" y="186"/>
                  </a:lnTo>
                  <a:lnTo>
                    <a:pt x="118" y="190"/>
                  </a:lnTo>
                  <a:lnTo>
                    <a:pt x="130" y="190"/>
                  </a:lnTo>
                  <a:lnTo>
                    <a:pt x="130" y="190"/>
                  </a:lnTo>
                  <a:lnTo>
                    <a:pt x="142" y="190"/>
                  </a:lnTo>
                  <a:lnTo>
                    <a:pt x="154" y="186"/>
                  </a:lnTo>
                  <a:lnTo>
                    <a:pt x="164" y="180"/>
                  </a:lnTo>
                  <a:lnTo>
                    <a:pt x="174" y="172"/>
                  </a:lnTo>
                  <a:lnTo>
                    <a:pt x="182" y="162"/>
                  </a:lnTo>
                  <a:lnTo>
                    <a:pt x="188" y="152"/>
                  </a:lnTo>
                  <a:lnTo>
                    <a:pt x="190" y="140"/>
                  </a:lnTo>
                  <a:lnTo>
                    <a:pt x="192" y="128"/>
                  </a:lnTo>
                  <a:lnTo>
                    <a:pt x="192" y="128"/>
                  </a:lnTo>
                  <a:lnTo>
                    <a:pt x="190" y="116"/>
                  </a:lnTo>
                  <a:lnTo>
                    <a:pt x="188" y="104"/>
                  </a:lnTo>
                  <a:lnTo>
                    <a:pt x="182" y="94"/>
                  </a:lnTo>
                  <a:lnTo>
                    <a:pt x="174" y="84"/>
                  </a:lnTo>
                  <a:lnTo>
                    <a:pt x="164" y="76"/>
                  </a:lnTo>
                  <a:lnTo>
                    <a:pt x="154" y="70"/>
                  </a:lnTo>
                  <a:lnTo>
                    <a:pt x="142" y="68"/>
                  </a:lnTo>
                  <a:lnTo>
                    <a:pt x="130" y="66"/>
                  </a:lnTo>
                  <a:lnTo>
                    <a:pt x="130" y="66"/>
                  </a:lnTo>
                  <a:close/>
                  <a:moveTo>
                    <a:pt x="130" y="156"/>
                  </a:moveTo>
                  <a:lnTo>
                    <a:pt x="130" y="156"/>
                  </a:lnTo>
                  <a:lnTo>
                    <a:pt x="120" y="152"/>
                  </a:lnTo>
                  <a:lnTo>
                    <a:pt x="110" y="148"/>
                  </a:lnTo>
                  <a:lnTo>
                    <a:pt x="104" y="13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4" y="118"/>
                  </a:lnTo>
                  <a:lnTo>
                    <a:pt x="110" y="110"/>
                  </a:lnTo>
                  <a:lnTo>
                    <a:pt x="120" y="104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40" y="104"/>
                  </a:lnTo>
                  <a:lnTo>
                    <a:pt x="148" y="110"/>
                  </a:lnTo>
                  <a:lnTo>
                    <a:pt x="154" y="118"/>
                  </a:lnTo>
                  <a:lnTo>
                    <a:pt x="156" y="128"/>
                  </a:lnTo>
                  <a:lnTo>
                    <a:pt x="156" y="128"/>
                  </a:lnTo>
                  <a:lnTo>
                    <a:pt x="154" y="138"/>
                  </a:lnTo>
                  <a:lnTo>
                    <a:pt x="148" y="148"/>
                  </a:lnTo>
                  <a:lnTo>
                    <a:pt x="140" y="152"/>
                  </a:lnTo>
                  <a:lnTo>
                    <a:pt x="130" y="156"/>
                  </a:lnTo>
                  <a:lnTo>
                    <a:pt x="130" y="156"/>
                  </a:lnTo>
                  <a:close/>
                  <a:moveTo>
                    <a:pt x="370" y="248"/>
                  </a:moveTo>
                  <a:lnTo>
                    <a:pt x="388" y="244"/>
                  </a:lnTo>
                  <a:lnTo>
                    <a:pt x="382" y="212"/>
                  </a:lnTo>
                  <a:lnTo>
                    <a:pt x="364" y="214"/>
                  </a:lnTo>
                  <a:lnTo>
                    <a:pt x="364" y="214"/>
                  </a:lnTo>
                  <a:lnTo>
                    <a:pt x="356" y="202"/>
                  </a:lnTo>
                  <a:lnTo>
                    <a:pt x="346" y="192"/>
                  </a:lnTo>
                  <a:lnTo>
                    <a:pt x="352" y="174"/>
                  </a:lnTo>
                  <a:lnTo>
                    <a:pt x="320" y="162"/>
                  </a:lnTo>
                  <a:lnTo>
                    <a:pt x="314" y="180"/>
                  </a:lnTo>
                  <a:lnTo>
                    <a:pt x="314" y="180"/>
                  </a:lnTo>
                  <a:lnTo>
                    <a:pt x="300" y="182"/>
                  </a:lnTo>
                  <a:lnTo>
                    <a:pt x="286" y="186"/>
                  </a:lnTo>
                  <a:lnTo>
                    <a:pt x="272" y="172"/>
                  </a:lnTo>
                  <a:lnTo>
                    <a:pt x="246" y="194"/>
                  </a:lnTo>
                  <a:lnTo>
                    <a:pt x="260" y="208"/>
                  </a:lnTo>
                  <a:lnTo>
                    <a:pt x="260" y="208"/>
                  </a:lnTo>
                  <a:lnTo>
                    <a:pt x="252" y="220"/>
                  </a:lnTo>
                  <a:lnTo>
                    <a:pt x="250" y="234"/>
                  </a:lnTo>
                  <a:lnTo>
                    <a:pt x="230" y="238"/>
                  </a:lnTo>
                  <a:lnTo>
                    <a:pt x="236" y="272"/>
                  </a:lnTo>
                  <a:lnTo>
                    <a:pt x="256" y="268"/>
                  </a:lnTo>
                  <a:lnTo>
                    <a:pt x="256" y="268"/>
                  </a:lnTo>
                  <a:lnTo>
                    <a:pt x="264" y="280"/>
                  </a:lnTo>
                  <a:lnTo>
                    <a:pt x="274" y="290"/>
                  </a:lnTo>
                  <a:lnTo>
                    <a:pt x="268" y="308"/>
                  </a:lnTo>
                  <a:lnTo>
                    <a:pt x="300" y="320"/>
                  </a:lnTo>
                  <a:lnTo>
                    <a:pt x="306" y="302"/>
                  </a:lnTo>
                  <a:lnTo>
                    <a:pt x="306" y="302"/>
                  </a:lnTo>
                  <a:lnTo>
                    <a:pt x="320" y="302"/>
                  </a:lnTo>
                  <a:lnTo>
                    <a:pt x="334" y="298"/>
                  </a:lnTo>
                  <a:lnTo>
                    <a:pt x="346" y="312"/>
                  </a:lnTo>
                  <a:lnTo>
                    <a:pt x="372" y="290"/>
                  </a:lnTo>
                  <a:lnTo>
                    <a:pt x="360" y="276"/>
                  </a:lnTo>
                  <a:lnTo>
                    <a:pt x="360" y="276"/>
                  </a:lnTo>
                  <a:lnTo>
                    <a:pt x="366" y="262"/>
                  </a:lnTo>
                  <a:lnTo>
                    <a:pt x="370" y="248"/>
                  </a:lnTo>
                  <a:lnTo>
                    <a:pt x="370" y="248"/>
                  </a:lnTo>
                  <a:close/>
                  <a:moveTo>
                    <a:pt x="320" y="264"/>
                  </a:moveTo>
                  <a:lnTo>
                    <a:pt x="320" y="264"/>
                  </a:lnTo>
                  <a:lnTo>
                    <a:pt x="310" y="266"/>
                  </a:lnTo>
                  <a:lnTo>
                    <a:pt x="302" y="264"/>
                  </a:lnTo>
                  <a:lnTo>
                    <a:pt x="294" y="260"/>
                  </a:lnTo>
                  <a:lnTo>
                    <a:pt x="288" y="252"/>
                  </a:lnTo>
                  <a:lnTo>
                    <a:pt x="288" y="252"/>
                  </a:lnTo>
                  <a:lnTo>
                    <a:pt x="286" y="242"/>
                  </a:lnTo>
                  <a:lnTo>
                    <a:pt x="288" y="234"/>
                  </a:lnTo>
                  <a:lnTo>
                    <a:pt x="292" y="226"/>
                  </a:lnTo>
                  <a:lnTo>
                    <a:pt x="300" y="220"/>
                  </a:lnTo>
                  <a:lnTo>
                    <a:pt x="300" y="220"/>
                  </a:lnTo>
                  <a:lnTo>
                    <a:pt x="308" y="218"/>
                  </a:lnTo>
                  <a:lnTo>
                    <a:pt x="318" y="220"/>
                  </a:lnTo>
                  <a:lnTo>
                    <a:pt x="326" y="224"/>
                  </a:lnTo>
                  <a:lnTo>
                    <a:pt x="332" y="232"/>
                  </a:lnTo>
                  <a:lnTo>
                    <a:pt x="332" y="232"/>
                  </a:lnTo>
                  <a:lnTo>
                    <a:pt x="334" y="240"/>
                  </a:lnTo>
                  <a:lnTo>
                    <a:pt x="332" y="250"/>
                  </a:lnTo>
                  <a:lnTo>
                    <a:pt x="328" y="258"/>
                  </a:lnTo>
                  <a:lnTo>
                    <a:pt x="320" y="264"/>
                  </a:lnTo>
                  <a:lnTo>
                    <a:pt x="320" y="2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pPr latinLnBrk="1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4341" name="Group 29"/>
          <p:cNvGrpSpPr>
            <a:grpSpLocks/>
          </p:cNvGrpSpPr>
          <p:nvPr/>
        </p:nvGrpSpPr>
        <p:grpSpPr bwMode="auto">
          <a:xfrm>
            <a:off x="4789125" y="1569700"/>
            <a:ext cx="3784058" cy="3021650"/>
            <a:chOff x="3867724" y="1628800"/>
            <a:chExt cx="5045784" cy="4029602"/>
          </a:xfrm>
        </p:grpSpPr>
        <p:grpSp>
          <p:nvGrpSpPr>
            <p:cNvPr id="14350" name="Group 30"/>
            <p:cNvGrpSpPr>
              <a:grpSpLocks/>
            </p:cNvGrpSpPr>
            <p:nvPr/>
          </p:nvGrpSpPr>
          <p:grpSpPr bwMode="auto">
            <a:xfrm>
              <a:off x="3867724" y="1628800"/>
              <a:ext cx="5045784" cy="4029602"/>
              <a:chOff x="3867724" y="1628800"/>
              <a:chExt cx="5045784" cy="4029602"/>
            </a:xfrm>
          </p:grpSpPr>
          <p:sp>
            <p:nvSpPr>
              <p:cNvPr id="14355" name="Rectangle 2"/>
              <p:cNvSpPr txBox="1">
                <a:spLocks noChangeArrowheads="1"/>
              </p:cNvSpPr>
              <p:nvPr/>
            </p:nvSpPr>
            <p:spPr bwMode="auto">
              <a:xfrm>
                <a:off x="5204114" y="1739279"/>
                <a:ext cx="3701117" cy="5945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3305" tIns="31652" rIns="63305" bIns="31652" anchor="ctr"/>
              <a:lstStyle>
                <a:lvl1pPr defTabSz="420688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1pPr>
                <a:lvl2pPr marL="742950" indent="-285750" defTabSz="420688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2pPr>
                <a:lvl3pPr marL="1143000" indent="-228600" defTabSz="420688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3pPr>
                <a:lvl4pPr marL="1600200" indent="-228600" defTabSz="420688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4pPr>
                <a:lvl5pPr marL="2057400" indent="-228600" defTabSz="420688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5pPr>
                <a:lvl6pPr marL="2514600" indent="-228600" defTabSz="420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6pPr>
                <a:lvl7pPr marL="2971800" indent="-228600" defTabSz="420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7pPr>
                <a:lvl8pPr marL="3429000" indent="-228600" defTabSz="420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8pPr>
                <a:lvl9pPr marL="3886200" indent="-228600" defTabSz="420688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latinLnBrk="1" hangingPunct="1"/>
                <a:r>
                  <a:rPr lang="en-MY" altLang="en-US" sz="900" b="1" dirty="0">
                    <a:solidFill>
                      <a:srgbClr val="002060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rPr>
                  <a:t>Four Key Measures of the Financial &amp; Reporting Reform is to implement the following initiatives:</a:t>
                </a:r>
              </a:p>
            </p:txBody>
          </p:sp>
          <p:grpSp>
            <p:nvGrpSpPr>
              <p:cNvPr id="37" name="Group 36"/>
              <p:cNvGrpSpPr/>
              <p:nvPr/>
            </p:nvGrpSpPr>
            <p:grpSpPr>
              <a:xfrm rot="5400000">
                <a:off x="4375815" y="1120709"/>
                <a:ext cx="4029602" cy="5045784"/>
                <a:chOff x="3728741" y="5917987"/>
                <a:chExt cx="2255778" cy="1736121"/>
              </a:xfrm>
              <a:solidFill>
                <a:schemeClr val="bg2">
                  <a:lumMod val="90000"/>
                </a:schemeClr>
              </a:solidFill>
            </p:grpSpPr>
            <p:sp>
              <p:nvSpPr>
                <p:cNvPr id="38" name="Freeform 37"/>
                <p:cNvSpPr>
                  <a:spLocks/>
                </p:cNvSpPr>
                <p:nvPr/>
              </p:nvSpPr>
              <p:spPr bwMode="auto">
                <a:xfrm rot="5400000">
                  <a:off x="3308178" y="6341397"/>
                  <a:ext cx="1552596" cy="711470"/>
                </a:xfrm>
                <a:custGeom>
                  <a:avLst/>
                  <a:gdLst/>
                  <a:ahLst/>
                  <a:cxnLst>
                    <a:cxn ang="0">
                      <a:pos x="1503" y="275"/>
                    </a:cxn>
                    <a:cxn ang="0">
                      <a:pos x="1503" y="635"/>
                    </a:cxn>
                    <a:cxn ang="0">
                      <a:pos x="1827" y="0"/>
                    </a:cxn>
                    <a:cxn ang="0">
                      <a:pos x="0" y="0"/>
                    </a:cxn>
                    <a:cxn ang="0">
                      <a:pos x="0" y="275"/>
                    </a:cxn>
                    <a:cxn ang="0">
                      <a:pos x="1503" y="275"/>
                    </a:cxn>
                  </a:cxnLst>
                  <a:rect l="0" t="0" r="r" b="b"/>
                  <a:pathLst>
                    <a:path w="1828" h="636">
                      <a:moveTo>
                        <a:pt x="1503" y="275"/>
                      </a:moveTo>
                      <a:lnTo>
                        <a:pt x="1503" y="635"/>
                      </a:lnTo>
                      <a:lnTo>
                        <a:pt x="1827" y="0"/>
                      </a:lnTo>
                      <a:lnTo>
                        <a:pt x="0" y="0"/>
                      </a:lnTo>
                      <a:lnTo>
                        <a:pt x="0" y="275"/>
                      </a:lnTo>
                      <a:lnTo>
                        <a:pt x="1503" y="275"/>
                      </a:lnTo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 w="12700" cap="rnd" cmpd="sng">
                  <a:noFill/>
                  <a:prstDash val="solid"/>
                  <a:round/>
                  <a:headEnd/>
                  <a:tailEnd/>
                </a:ln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p:spPr>
              <p:txBody>
                <a:bodyPr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Aft>
                      <a:spcPts val="675"/>
                    </a:spcAft>
                    <a:defRPr/>
                  </a:pPr>
                  <a:endParaRPr lang="en-US" sz="900" dirty="0">
                    <a:solidFill>
                      <a:srgbClr val="000000"/>
                    </a:solidFill>
                    <a:latin typeface="Georgia"/>
                  </a:endParaRPr>
                </a:p>
              </p:txBody>
            </p:sp>
            <p:sp>
              <p:nvSpPr>
                <p:cNvPr id="39" name="Freeform 38"/>
                <p:cNvSpPr>
                  <a:spLocks/>
                </p:cNvSpPr>
                <p:nvPr/>
              </p:nvSpPr>
              <p:spPr bwMode="auto">
                <a:xfrm rot="5400000">
                  <a:off x="4805265" y="6327064"/>
                  <a:ext cx="1588331" cy="770177"/>
                </a:xfrm>
                <a:custGeom>
                  <a:avLst/>
                  <a:gdLst/>
                  <a:ahLst/>
                  <a:cxnLst>
                    <a:cxn ang="0">
                      <a:pos x="1503" y="358"/>
                    </a:cxn>
                    <a:cxn ang="0">
                      <a:pos x="1503" y="0"/>
                    </a:cxn>
                    <a:cxn ang="0">
                      <a:pos x="1827" y="634"/>
                    </a:cxn>
                    <a:cxn ang="0">
                      <a:pos x="0" y="634"/>
                    </a:cxn>
                    <a:cxn ang="0">
                      <a:pos x="0" y="358"/>
                    </a:cxn>
                    <a:cxn ang="0">
                      <a:pos x="1503" y="358"/>
                    </a:cxn>
                  </a:cxnLst>
                  <a:rect l="0" t="0" r="r" b="b"/>
                  <a:pathLst>
                    <a:path w="1828" h="635">
                      <a:moveTo>
                        <a:pt x="1503" y="358"/>
                      </a:moveTo>
                      <a:lnTo>
                        <a:pt x="1503" y="0"/>
                      </a:lnTo>
                      <a:lnTo>
                        <a:pt x="1827" y="634"/>
                      </a:lnTo>
                      <a:lnTo>
                        <a:pt x="0" y="634"/>
                      </a:lnTo>
                      <a:lnTo>
                        <a:pt x="0" y="358"/>
                      </a:lnTo>
                      <a:lnTo>
                        <a:pt x="1503" y="358"/>
                      </a:lnTo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12700" cap="rnd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Aft>
                      <a:spcPts val="675"/>
                    </a:spcAft>
                    <a:defRPr/>
                  </a:pPr>
                  <a:endParaRPr lang="en-US" sz="900" dirty="0">
                    <a:solidFill>
                      <a:prstClr val="white"/>
                    </a:solidFill>
                    <a:latin typeface="Georgia"/>
                  </a:endParaRPr>
                </a:p>
              </p:txBody>
            </p:sp>
            <p:sp>
              <p:nvSpPr>
                <p:cNvPr id="40" name="Freeform 39"/>
                <p:cNvSpPr>
                  <a:spLocks/>
                </p:cNvSpPr>
                <p:nvPr/>
              </p:nvSpPr>
              <p:spPr bwMode="auto">
                <a:xfrm rot="5400000">
                  <a:off x="3790820" y="6624864"/>
                  <a:ext cx="1725624" cy="325160"/>
                </a:xfrm>
                <a:custGeom>
                  <a:avLst/>
                  <a:gdLst>
                    <a:gd name="connsiteX0" fmla="*/ 0 w 10505"/>
                    <a:gd name="connsiteY0" fmla="*/ 63 h 10032"/>
                    <a:gd name="connsiteX1" fmla="*/ 9622 w 10505"/>
                    <a:gd name="connsiteY1" fmla="*/ 63 h 10032"/>
                    <a:gd name="connsiteX2" fmla="*/ 10505 w 10505"/>
                    <a:gd name="connsiteY2" fmla="*/ 0 h 10032"/>
                    <a:gd name="connsiteX3" fmla="*/ 9606 w 10505"/>
                    <a:gd name="connsiteY3" fmla="*/ 10032 h 10032"/>
                    <a:gd name="connsiteX4" fmla="*/ 0 w 10505"/>
                    <a:gd name="connsiteY4" fmla="*/ 10001 h 10032"/>
                    <a:gd name="connsiteX5" fmla="*/ 0 w 10505"/>
                    <a:gd name="connsiteY5" fmla="*/ 63 h 10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505" h="10032">
                      <a:moveTo>
                        <a:pt x="0" y="63"/>
                      </a:moveTo>
                      <a:lnTo>
                        <a:pt x="9622" y="63"/>
                      </a:lnTo>
                      <a:lnTo>
                        <a:pt x="10505" y="0"/>
                      </a:lnTo>
                      <a:cubicBezTo>
                        <a:pt x="10205" y="3344"/>
                        <a:pt x="9906" y="6688"/>
                        <a:pt x="9606" y="10032"/>
                      </a:cubicBezTo>
                      <a:lnTo>
                        <a:pt x="0" y="10001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12700" cap="rnd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Aft>
                      <a:spcPts val="675"/>
                    </a:spcAft>
                    <a:defRPr/>
                  </a:pPr>
                  <a:endParaRPr lang="en-US" sz="900" dirty="0">
                    <a:solidFill>
                      <a:srgbClr val="000000"/>
                    </a:solidFill>
                    <a:latin typeface="Georgia"/>
                  </a:endParaRPr>
                </a:p>
              </p:txBody>
            </p:sp>
            <p:sp>
              <p:nvSpPr>
                <p:cNvPr id="41" name="Freeform 40"/>
                <p:cNvSpPr>
                  <a:spLocks/>
                </p:cNvSpPr>
                <p:nvPr/>
              </p:nvSpPr>
              <p:spPr bwMode="auto">
                <a:xfrm rot="16200000" flipH="1">
                  <a:off x="4152728" y="6626427"/>
                  <a:ext cx="1729477" cy="325886"/>
                </a:xfrm>
                <a:custGeom>
                  <a:avLst/>
                  <a:gdLst>
                    <a:gd name="connsiteX0" fmla="*/ 0 w 10505"/>
                    <a:gd name="connsiteY0" fmla="*/ 63 h 10032"/>
                    <a:gd name="connsiteX1" fmla="*/ 9622 w 10505"/>
                    <a:gd name="connsiteY1" fmla="*/ 63 h 10032"/>
                    <a:gd name="connsiteX2" fmla="*/ 10505 w 10505"/>
                    <a:gd name="connsiteY2" fmla="*/ 0 h 10032"/>
                    <a:gd name="connsiteX3" fmla="*/ 9606 w 10505"/>
                    <a:gd name="connsiteY3" fmla="*/ 10032 h 10032"/>
                    <a:gd name="connsiteX4" fmla="*/ 0 w 10505"/>
                    <a:gd name="connsiteY4" fmla="*/ 10001 h 10032"/>
                    <a:gd name="connsiteX5" fmla="*/ 0 w 10505"/>
                    <a:gd name="connsiteY5" fmla="*/ 63 h 10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505" h="10032">
                      <a:moveTo>
                        <a:pt x="0" y="63"/>
                      </a:moveTo>
                      <a:lnTo>
                        <a:pt x="9622" y="63"/>
                      </a:lnTo>
                      <a:lnTo>
                        <a:pt x="10505" y="0"/>
                      </a:lnTo>
                      <a:cubicBezTo>
                        <a:pt x="10205" y="3344"/>
                        <a:pt x="9906" y="6688"/>
                        <a:pt x="9606" y="10032"/>
                      </a:cubicBezTo>
                      <a:lnTo>
                        <a:pt x="0" y="10001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 w="12700" cap="rnd" cmpd="sng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Aft>
                      <a:spcPts val="675"/>
                    </a:spcAft>
                    <a:defRPr/>
                  </a:pPr>
                  <a:endParaRPr lang="en-US" sz="9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32" name="Rectangle 31"/>
            <p:cNvSpPr/>
            <p:nvPr/>
          </p:nvSpPr>
          <p:spPr>
            <a:xfrm>
              <a:off x="5194970" y="2389351"/>
              <a:ext cx="3565789" cy="4925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atinLnBrk="1">
                <a:defRPr/>
              </a:pPr>
              <a:r>
                <a:rPr lang="en-GB" sz="9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opt accrual accounting for prudent fiscal </a:t>
              </a:r>
            </a:p>
            <a:p>
              <a:pPr latinLnBrk="1">
                <a:defRPr/>
              </a:pPr>
              <a:r>
                <a:rPr lang="en-GB" sz="9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agement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194273" y="3117413"/>
              <a:ext cx="3422903" cy="3078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atinLnBrk="1">
                <a:defRPr/>
              </a:pPr>
              <a:r>
                <a:rPr lang="en-MY" sz="900" b="1" dirty="0">
                  <a:solidFill>
                    <a:srgbClr val="00006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engthen expenditure control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194970" y="3780254"/>
              <a:ext cx="3565789" cy="3078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atinLnBrk="1">
                <a:defRPr/>
              </a:pPr>
              <a:r>
                <a:rPr lang="en-MY" sz="900" b="1" dirty="0">
                  <a:solidFill>
                    <a:srgbClr val="000066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Improve fiscal policy institutions &amp; processes</a:t>
              </a:r>
            </a:p>
          </p:txBody>
        </p:sp>
        <p:sp>
          <p:nvSpPr>
            <p:cNvPr id="14354" name="Rectangle 34"/>
            <p:cNvSpPr>
              <a:spLocks noChangeArrowheads="1"/>
            </p:cNvSpPr>
            <p:nvPr/>
          </p:nvSpPr>
          <p:spPr bwMode="auto">
            <a:xfrm>
              <a:off x="5194273" y="4354025"/>
              <a:ext cx="3143211" cy="418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latinLnBrk="1" hangingPunct="1">
                <a:lnSpc>
                  <a:spcPct val="80000"/>
                </a:lnSpc>
                <a:buClr>
                  <a:srgbClr val="000066"/>
                </a:buClr>
              </a:pPr>
              <a:r>
                <a:rPr lang="en-MY" altLang="en-US" sz="900" b="1" dirty="0">
                  <a:solidFill>
                    <a:srgbClr val="000066"/>
                  </a:solidFill>
                  <a:latin typeface="Arial" panose="020B0604020202020204" pitchFamily="34" charset="0"/>
                  <a:ea typeface="Arial Unicode MS" panose="020B0604020202020204" pitchFamily="34" charset="-128"/>
                </a:rPr>
                <a:t>Implement efficient broad-based tax for revenue &amp; </a:t>
              </a:r>
              <a:r>
                <a:rPr lang="en-MY" altLang="en-US" sz="900" b="1" dirty="0" smtClean="0">
                  <a:solidFill>
                    <a:srgbClr val="000066"/>
                  </a:solidFill>
                  <a:latin typeface="Arial" panose="020B0604020202020204" pitchFamily="34" charset="0"/>
                  <a:ea typeface="Arial Unicode MS" panose="020B0604020202020204" pitchFamily="34" charset="-128"/>
                </a:rPr>
                <a:t>fiscal </a:t>
              </a:r>
              <a:r>
                <a:rPr lang="en-MY" altLang="en-US" sz="900" b="1" dirty="0">
                  <a:solidFill>
                    <a:srgbClr val="000066"/>
                  </a:solidFill>
                  <a:latin typeface="Arial" panose="020B0604020202020204" pitchFamily="34" charset="0"/>
                  <a:ea typeface="Arial Unicode MS" panose="020B0604020202020204" pitchFamily="34" charset="-128"/>
                </a:rPr>
                <a:t>stability</a:t>
              </a:r>
            </a:p>
          </p:txBody>
        </p:sp>
      </p:grpSp>
      <p:grpSp>
        <p:nvGrpSpPr>
          <p:cNvPr id="14342" name="Group 41"/>
          <p:cNvGrpSpPr>
            <a:grpSpLocks/>
          </p:cNvGrpSpPr>
          <p:nvPr/>
        </p:nvGrpSpPr>
        <p:grpSpPr bwMode="auto">
          <a:xfrm>
            <a:off x="5383985" y="2106593"/>
            <a:ext cx="312402" cy="1817132"/>
            <a:chOff x="4834361" y="2376343"/>
            <a:chExt cx="416315" cy="2422445"/>
          </a:xfrm>
        </p:grpSpPr>
        <p:sp>
          <p:nvSpPr>
            <p:cNvPr id="43" name="TextBox 42"/>
            <p:cNvSpPr txBox="1"/>
            <p:nvPr/>
          </p:nvSpPr>
          <p:spPr>
            <a:xfrm>
              <a:off x="4834361" y="2376343"/>
              <a:ext cx="402035" cy="49236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latinLnBrk="1">
                <a:defRPr/>
              </a:pPr>
              <a:r>
                <a:rPr lang="en-US" b="1" dirty="0">
                  <a:solidFill>
                    <a:srgbClr val="000066"/>
                  </a:solidFill>
                  <a:latin typeface="Calibri"/>
                </a:rPr>
                <a:t>1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834361" y="3014228"/>
              <a:ext cx="402035" cy="49236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latinLnBrk="1">
                <a:defRPr/>
              </a:pPr>
              <a:r>
                <a:rPr lang="en-US" b="1" dirty="0">
                  <a:solidFill>
                    <a:srgbClr val="000066"/>
                  </a:solidFill>
                  <a:latin typeface="Calibri"/>
                </a:rPr>
                <a:t>2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4848641" y="3674706"/>
              <a:ext cx="402035" cy="49236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latinLnBrk="1">
                <a:defRPr/>
              </a:pPr>
              <a:r>
                <a:rPr lang="en-US" b="1" dirty="0">
                  <a:solidFill>
                    <a:srgbClr val="000066"/>
                  </a:solidFill>
                  <a:latin typeface="Calibri"/>
                </a:rPr>
                <a:t>3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4835948" y="4306426"/>
              <a:ext cx="402035" cy="49236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latinLnBrk="1">
                <a:defRPr/>
              </a:pPr>
              <a:r>
                <a:rPr lang="en-US" b="1" dirty="0">
                  <a:solidFill>
                    <a:srgbClr val="000066"/>
                  </a:solidFill>
                  <a:latin typeface="Calibri"/>
                </a:rPr>
                <a:t>4</a:t>
              </a:r>
            </a:p>
          </p:txBody>
        </p:sp>
      </p:grpSp>
      <p:sp>
        <p:nvSpPr>
          <p:cNvPr id="47" name="Rectangle 46"/>
          <p:cNvSpPr/>
          <p:nvPr/>
        </p:nvSpPr>
        <p:spPr>
          <a:xfrm>
            <a:off x="2099650" y="4475059"/>
            <a:ext cx="2713435" cy="219291"/>
          </a:xfrm>
          <a:prstGeom prst="rect">
            <a:avLst/>
          </a:prstGeom>
        </p:spPr>
        <p:txBody>
          <a:bodyPr>
            <a:spAutoFit/>
          </a:bodyPr>
          <a:lstStyle/>
          <a:p>
            <a:pPr latinLnBrk="1">
              <a:defRPr/>
            </a:pPr>
            <a:r>
              <a:rPr lang="en-MY" sz="825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 Measures For Public Sector Transformation</a:t>
            </a:r>
          </a:p>
        </p:txBody>
      </p:sp>
      <p:sp>
        <p:nvSpPr>
          <p:cNvPr id="14344" name="Title 1"/>
          <p:cNvSpPr>
            <a:spLocks noGrp="1"/>
          </p:cNvSpPr>
          <p:nvPr>
            <p:ph type="title"/>
          </p:nvPr>
        </p:nvSpPr>
        <p:spPr bwMode="auto">
          <a:xfrm>
            <a:off x="4895850" y="326127"/>
            <a:ext cx="6226969" cy="72509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3305" tIns="31652" rIns="63305" bIns="3165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MY" altLang="en-US" sz="3200" b="1" dirty="0" smtClean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</a:t>
            </a:r>
            <a:r>
              <a:rPr lang="en-MY" altLang="en-US" sz="3200" b="1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FMAS</a:t>
            </a:r>
            <a:r>
              <a:rPr lang="en-MY" altLang="en-US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br>
              <a:rPr lang="en-MY" altLang="en-US" sz="32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MY" altLang="en-US" sz="3200" b="1" dirty="0">
              <a:solidFill>
                <a:srgbClr val="FFF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45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7372088" y="4786514"/>
            <a:ext cx="1600200" cy="2738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sz="675" dirty="0">
                <a:latin typeface="Cambria" panose="02040503050406030204" pitchFamily="18" charset="0"/>
              </a:rPr>
              <a:t>5</a:t>
            </a:r>
            <a:endParaRPr lang="en-MY" altLang="en-US" sz="675" dirty="0">
              <a:latin typeface="Cambria" panose="02040503050406030204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50879" y="1316574"/>
            <a:ext cx="1958296" cy="13849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r>
              <a:rPr lang="en-MY" altLang="en-US" sz="14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iGFMAS</a:t>
            </a:r>
            <a:r>
              <a:rPr lang="en-MY" altLang="en-US" sz="14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came about as a result of the decision to adopt Accrual Accounting for prudent fiscal management </a:t>
            </a:r>
          </a:p>
        </p:txBody>
      </p:sp>
      <p:pic>
        <p:nvPicPr>
          <p:cNvPr id="49" name="Picture 48" descr="C:\Users\nfarahin.ali\Downloads\logo napsac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197" y="197229"/>
            <a:ext cx="835006" cy="653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284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A MASTER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微软雅黑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anchor="ctr"/>
      <a:lstStyle>
        <a:defPPr algn="ctr" fontAlgn="auto">
          <a:spcBef>
            <a:spcPts val="0"/>
          </a:spcBef>
          <a:spcAft>
            <a:spcPts val="0"/>
          </a:spcAft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73</Words>
  <Application>Microsoft Office PowerPoint</Application>
  <PresentationFormat>On-screen Show (16:9)</PresentationFormat>
  <Paragraphs>286</Paragraphs>
  <Slides>20</Slides>
  <Notes>10</Notes>
  <HiddenSlides>0</HiddenSlides>
  <MMClips>1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Arial Unicode MS</vt:lpstr>
      <vt:lpstr>맑은 고딕</vt:lpstr>
      <vt:lpstr>ＭＳ Ｐゴシック</vt:lpstr>
      <vt:lpstr>Arial</vt:lpstr>
      <vt:lpstr>Calibri</vt:lpstr>
      <vt:lpstr>Cambria</vt:lpstr>
      <vt:lpstr>Century Gothic</vt:lpstr>
      <vt:lpstr>Georgia</vt:lpstr>
      <vt:lpstr>Montserrat</vt:lpstr>
      <vt:lpstr>Open Sans</vt:lpstr>
      <vt:lpstr>Open Sans Semibold</vt:lpstr>
      <vt:lpstr>Wingdings</vt:lpstr>
      <vt:lpstr>Office Theme</vt:lpstr>
      <vt:lpstr>iA MASTER TEMPLATE</vt:lpstr>
      <vt:lpstr>PowerPoint Presentation</vt:lpstr>
      <vt:lpstr>PowerPoint Presentation</vt:lpstr>
      <vt:lpstr>PowerPoint Presentation</vt:lpstr>
      <vt:lpstr>PowerPoint Presentation</vt:lpstr>
      <vt:lpstr>  THE JOURNEY OF TRANSFORMATION IN  ACCOUNTING SYSTEM - EXPERIENCES FROM iGFMAS Salmiah Ramli </vt:lpstr>
      <vt:lpstr>PowerPoint Presentation</vt:lpstr>
      <vt:lpstr>What is iGFMAS? </vt:lpstr>
      <vt:lpstr>What is iGFMAS? </vt:lpstr>
      <vt:lpstr>Why iGFMAS? </vt:lpstr>
      <vt:lpstr>PowerPoint Presentation</vt:lpstr>
      <vt:lpstr>PowerPoint Presentation</vt:lpstr>
      <vt:lpstr>The Journey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8-01T15:40:51Z</dcterms:created>
  <dcterms:modified xsi:type="dcterms:W3CDTF">2019-09-18T02:33:18Z</dcterms:modified>
</cp:coreProperties>
</file>